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71" r:id="rId2"/>
    <p:sldId id="321" r:id="rId3"/>
    <p:sldId id="277" r:id="rId4"/>
    <p:sldId id="274" r:id="rId5"/>
    <p:sldId id="265" r:id="rId6"/>
    <p:sldId id="322" r:id="rId7"/>
    <p:sldId id="307" r:id="rId8"/>
    <p:sldId id="319" r:id="rId9"/>
    <p:sldId id="320" r:id="rId10"/>
    <p:sldId id="270" r:id="rId11"/>
    <p:sldId id="261" r:id="rId12"/>
    <p:sldId id="323" r:id="rId13"/>
    <p:sldId id="262" r:id="rId14"/>
    <p:sldId id="324" r:id="rId15"/>
    <p:sldId id="275" r:id="rId1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FROMENT MEURICE" initials="CFM" lastIdx="2" clrIdx="0">
    <p:extLst>
      <p:ext uri="{19B8F6BF-5375-455C-9EA6-DF929625EA0E}">
        <p15:presenceInfo xmlns:p15="http://schemas.microsoft.com/office/powerpoint/2012/main" userId="S-1-5-21-1736221409-3991310975-2891960451-27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3"/>
    <a:srgbClr val="FFFFCC"/>
    <a:srgbClr val="C1022C"/>
    <a:srgbClr val="8D011F"/>
    <a:srgbClr val="C0C0C0"/>
    <a:srgbClr val="D0C6CA"/>
    <a:srgbClr val="CC0000"/>
    <a:srgbClr val="5B9BD5"/>
    <a:srgbClr val="BFB1B6"/>
    <a:srgbClr val="8B73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39" autoAdjust="0"/>
    <p:restoredTop sz="94647" autoAdjust="0"/>
  </p:normalViewPr>
  <p:slideViewPr>
    <p:cSldViewPr snapToGrid="0">
      <p:cViewPr varScale="1">
        <p:scale>
          <a:sx n="92" d="100"/>
          <a:sy n="92" d="100"/>
        </p:scale>
        <p:origin x="2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3082" y="3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90004224284035E-2"/>
          <c:y val="0.16686768688934431"/>
          <c:w val="0.90286351706036749"/>
          <c:h val="0.69827172645086033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dLbl>
              <c:idx val="0"/>
              <c:layout>
                <c:manualLayout>
                  <c:x val="0"/>
                  <c:y val="0.414381669201798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4B21451D-B08E-4B24-BB73-8E4CBBF654FA}" type="VALUE">
                      <a:rPr lang="en-US" sz="2000"/>
                      <a:pPr>
                        <a:defRPr sz="2000">
                          <a:latin typeface="Century Gothic" panose="020B0502020202020204" pitchFamily="34" charset="0"/>
                        </a:defRPr>
                      </a:pPr>
                      <a:t>[VALEUR]</a:t>
                    </a:fld>
                    <a:endParaRPr lang="en-US" sz="2000"/>
                  </a:p>
                  <a:p>
                    <a:pPr>
                      <a:defRPr sz="2000">
                        <a:latin typeface="Century Gothic" panose="020B0502020202020204" pitchFamily="34" charset="0"/>
                      </a:defRPr>
                    </a:pPr>
                    <a:r>
                      <a:rPr lang="en-US" sz="2000" b="0" i="0" u="none" strike="noStrike" kern="1200" baseline="0">
                        <a:solidFill>
                          <a:sysClr val="window" lastClr="FFFFFF"/>
                        </a:solidFill>
                        <a:latin typeface="Century Gothic" panose="020B0502020202020204" pitchFamily="34" charset="0"/>
                      </a:rPr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8E5-4543-940A-3FA6B7385053}"/>
                </c:ext>
              </c:extLst>
            </c:dLbl>
            <c:dLbl>
              <c:idx val="1"/>
              <c:layout>
                <c:manualLayout>
                  <c:x val="-9.4836700579034486E-17"/>
                  <c:y val="0.4290943150104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02BDFBE7-0A70-4FB8-9D4C-14D53399E8BA}" type="VALUE">
                      <a:rPr lang="en-US" sz="2000"/>
                      <a:pPr>
                        <a:defRPr sz="2000">
                          <a:latin typeface="Century Gothic" panose="020B0502020202020204" pitchFamily="34" charset="0"/>
                        </a:defRPr>
                      </a:pPr>
                      <a:t>[VALEUR]</a:t>
                    </a:fld>
                    <a:r>
                      <a:rPr lang="en-US" sz="2000"/>
                      <a:t> </a:t>
                    </a:r>
                    <a:r>
                      <a:rPr lang="en-US" sz="2000" b="0"/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8E5-4543-940A-3FA6B7385053}"/>
                </c:ext>
              </c:extLst>
            </c:dLbl>
            <c:dLbl>
              <c:idx val="2"/>
              <c:layout>
                <c:manualLayout>
                  <c:x val="-9.4836700579034486E-17"/>
                  <c:y val="0.4468572282533772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6ED428BF-31BD-4EFA-83BB-1BEDCE8A3492}" type="VALUE">
                      <a:rPr lang="en-US" sz="2000"/>
                      <a:pPr>
                        <a:defRPr sz="2000">
                          <a:latin typeface="Century Gothic" panose="020B0502020202020204" pitchFamily="34" charset="0"/>
                        </a:defRPr>
                      </a:pPr>
                      <a:t>[VALEUR]</a:t>
                    </a:fld>
                    <a:endParaRPr lang="en-US" sz="2000"/>
                  </a:p>
                  <a:p>
                    <a:pPr>
                      <a:defRPr sz="2000">
                        <a:latin typeface="Century Gothic" panose="020B0502020202020204" pitchFamily="34" charset="0"/>
                      </a:defRPr>
                    </a:pPr>
                    <a:r>
                      <a:rPr lang="en-US" sz="2000" b="0" i="0" u="none" strike="noStrike" kern="1200" baseline="0">
                        <a:solidFill>
                          <a:sysClr val="window" lastClr="FFFFFF"/>
                        </a:solidFill>
                        <a:latin typeface="Century Gothic" panose="020B0502020202020204" pitchFamily="34" charset="0"/>
                      </a:rPr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8E5-4543-940A-3FA6B73850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Chiffres Rapports'!$A$83:$C$83</c:f>
              <c:numCache>
                <c:formatCode>General</c:formatCode>
                <c:ptCount val="3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</c:numCache>
            </c:numRef>
          </c:cat>
          <c:val>
            <c:numRef>
              <c:f>'Chiffres Rapports'!$A$84:$C$84</c:f>
              <c:numCache>
                <c:formatCode>General</c:formatCode>
                <c:ptCount val="3"/>
                <c:pt idx="0">
                  <c:v>9.1999999999999993</c:v>
                </c:pt>
                <c:pt idx="1">
                  <c:v>10</c:v>
                </c:pt>
                <c:pt idx="2">
                  <c:v>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E5-4543-940A-3FA6B738505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469279112"/>
        <c:axId val="469280096"/>
      </c:barChart>
      <c:catAx>
        <c:axId val="469279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3"/>
                </a:solidFill>
                <a:effectLst/>
                <a:latin typeface="Century Gothic" panose="020B0502020202020204" pitchFamily="34" charset="0"/>
                <a:ea typeface="+mn-ea"/>
                <a:cs typeface="+mn-cs"/>
              </a:defRPr>
            </a:pPr>
            <a:endParaRPr lang="fr-FR"/>
          </a:p>
        </c:txPr>
        <c:crossAx val="469280096"/>
        <c:crosses val="autoZero"/>
        <c:auto val="1"/>
        <c:lblAlgn val="ctr"/>
        <c:lblOffset val="100"/>
        <c:noMultiLvlLbl val="0"/>
      </c:catAx>
      <c:valAx>
        <c:axId val="469280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9279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explosion val="1"/>
          <c:dPt>
            <c:idx val="0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0E8-4F74-BA72-9595C969CE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0E8-4F74-BA72-9595C969CE57}"/>
              </c:ext>
            </c:extLst>
          </c:dPt>
          <c:dLbls>
            <c:dLbl>
              <c:idx val="0"/>
              <c:layout>
                <c:manualLayout>
                  <c:x val="-0.12415207566230919"/>
                  <c:y val="0.1022149712983367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>
                        <a:latin typeface="Century Gothic" panose="020B0502020202020204" pitchFamily="34" charset="0"/>
                      </a:rPr>
                      <a:t>Public</a:t>
                    </a:r>
                    <a:r>
                      <a:rPr lang="en-US" sz="1400" baseline="0" dirty="0">
                        <a:latin typeface="Century Gothic" panose="020B0502020202020204" pitchFamily="34" charset="0"/>
                      </a:rPr>
                      <a:t> funds</a:t>
                    </a:r>
                    <a:endParaRPr lang="en-US" sz="1400" dirty="0">
                      <a:latin typeface="Century Gothic" panose="020B0502020202020204" pitchFamily="34" charset="0"/>
                    </a:endParaRPr>
                  </a:p>
                  <a:p>
                    <a:pPr>
                      <a:defRPr sz="1400">
                        <a:solidFill>
                          <a:schemeClr val="bg1"/>
                        </a:solidFill>
                      </a:defRPr>
                    </a:pPr>
                    <a:fld id="{CD614D09-8A2B-43B1-A0A6-34CA9FF01AF3}" type="PERCENTAGE">
                      <a:rPr lang="en-US" sz="1400">
                        <a:latin typeface="Century Gothic" panose="020B0502020202020204" pitchFamily="34" charset="0"/>
                      </a:rPr>
                      <a:pPr>
                        <a:defRPr sz="1400">
                          <a:solidFill>
                            <a:schemeClr val="bg1"/>
                          </a:solidFill>
                        </a:defRPr>
                      </a:pPr>
                      <a:t>[POURCENTA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377055382711927"/>
                      <c:h val="0.3624772427829875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0E8-4F74-BA72-9595C969CE57}"/>
                </c:ext>
              </c:extLst>
            </c:dLbl>
            <c:dLbl>
              <c:idx val="1"/>
              <c:layout>
                <c:manualLayout>
                  <c:x val="0.10918117296682391"/>
                  <c:y val="-0.3005522192276959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000" dirty="0">
                        <a:latin typeface="Century Gothic" panose="020B0502020202020204" pitchFamily="34" charset="0"/>
                      </a:rPr>
                      <a:t>Private funds</a:t>
                    </a:r>
                  </a:p>
                  <a:p>
                    <a:pPr>
                      <a:defRPr sz="2000">
                        <a:solidFill>
                          <a:schemeClr val="bg1"/>
                        </a:solidFill>
                      </a:defRPr>
                    </a:pPr>
                    <a:fld id="{3E52E22B-7F6E-4E1D-8BB0-931FB9D3ABBA}" type="PERCENTAGE">
                      <a:rPr lang="en-US" sz="2000">
                        <a:latin typeface="Century Gothic" panose="020B0502020202020204" pitchFamily="34" charset="0"/>
                      </a:rPr>
                      <a:pPr>
                        <a:defRPr sz="2000">
                          <a:solidFill>
                            <a:schemeClr val="bg1"/>
                          </a:solidFill>
                        </a:defRPr>
                      </a:pPr>
                      <a:t>[POURCENTA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526844878657"/>
                      <c:h val="0.4817826180328090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0E8-4F74-BA72-9595C969CE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LOBAL BUDGET'!$A$117:$B$117</c:f>
              <c:strCache>
                <c:ptCount val="2"/>
                <c:pt idx="0">
                  <c:v>Fonds publics</c:v>
                </c:pt>
                <c:pt idx="1">
                  <c:v>Fonds privés</c:v>
                </c:pt>
              </c:strCache>
            </c:strRef>
          </c:cat>
          <c:val>
            <c:numRef>
              <c:f>'GLOBAL BUDGET'!$A$118:$B$118</c:f>
              <c:numCache>
                <c:formatCode>0%</c:formatCode>
                <c:ptCount val="2"/>
                <c:pt idx="0">
                  <c:v>0.32</c:v>
                </c:pt>
                <c:pt idx="1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E8-4F74-BA72-9595C969CE57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image" Target="../media/image18.jpeg"/><Relationship Id="rId4" Type="http://schemas.openxmlformats.org/officeDocument/2006/relationships/image" Target="../media/image21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image" Target="../media/image18.jpeg"/><Relationship Id="rId4" Type="http://schemas.openxmlformats.org/officeDocument/2006/relationships/image" Target="../media/image2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801C57-D56C-4663-A269-EBAF71D4FB8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5DD7EAC5-26BC-4AC5-9257-CA2A42576729}">
      <dgm:prSet phldrT="[Texte]" custT="1"/>
      <dgm:spPr/>
      <dgm:t>
        <a:bodyPr/>
        <a:lstStyle/>
        <a:p>
          <a:r>
            <a:rPr lang="fr-FR" sz="4000" dirty="0">
              <a:latin typeface="Century Gothic" panose="020B0502020202020204" pitchFamily="34" charset="0"/>
            </a:rPr>
            <a:t>    </a:t>
          </a:r>
          <a:r>
            <a:rPr lang="fr-FR" sz="3600" dirty="0" err="1">
              <a:latin typeface="Century Gothic" panose="020B0502020202020204" pitchFamily="34" charset="0"/>
            </a:rPr>
            <a:t>young</a:t>
          </a:r>
          <a:r>
            <a:rPr lang="fr-FR" sz="3600" dirty="0">
              <a:latin typeface="Century Gothic" panose="020B0502020202020204" pitchFamily="34" charset="0"/>
            </a:rPr>
            <a:t> people</a:t>
          </a:r>
          <a:r>
            <a:rPr lang="fr-FR" sz="4000" dirty="0">
              <a:latin typeface="Century Gothic" panose="020B0502020202020204" pitchFamily="34" charset="0"/>
            </a:rPr>
            <a:t> </a:t>
          </a:r>
          <a:r>
            <a:rPr lang="fr-FR" sz="1600" dirty="0" err="1">
              <a:latin typeface="Century Gothic" panose="020B0502020202020204" pitchFamily="34" charset="0"/>
            </a:rPr>
            <a:t>trained</a:t>
          </a:r>
          <a:r>
            <a:rPr lang="fr-FR" sz="1600" dirty="0">
              <a:latin typeface="Century Gothic" panose="020B0502020202020204" pitchFamily="34" charset="0"/>
            </a:rPr>
            <a:t> and </a:t>
          </a:r>
          <a:r>
            <a:rPr lang="fr-FR" sz="1600" dirty="0" err="1">
              <a:latin typeface="Century Gothic" panose="020B0502020202020204" pitchFamily="34" charset="0"/>
            </a:rPr>
            <a:t>employed</a:t>
          </a:r>
          <a:endParaRPr lang="fr-FR" sz="4000" dirty="0">
            <a:latin typeface="Century Gothic" panose="020B0502020202020204" pitchFamily="34" charset="0"/>
          </a:endParaRPr>
        </a:p>
      </dgm:t>
    </dgm:pt>
    <dgm:pt modelId="{329CE3A1-9872-418B-8278-466824995DE8}" type="parTrans" cxnId="{889D89D3-68C7-4FAE-8314-4EA96DA72863}">
      <dgm:prSet/>
      <dgm:spPr/>
      <dgm:t>
        <a:bodyPr/>
        <a:lstStyle/>
        <a:p>
          <a:endParaRPr lang="fr-FR"/>
        </a:p>
      </dgm:t>
    </dgm:pt>
    <dgm:pt modelId="{46304756-F6C0-4E36-85D8-79BD7CAD182B}" type="sibTrans" cxnId="{889D89D3-68C7-4FAE-8314-4EA96DA72863}">
      <dgm:prSet/>
      <dgm:spPr/>
      <dgm:t>
        <a:bodyPr/>
        <a:lstStyle/>
        <a:p>
          <a:endParaRPr lang="fr-FR"/>
        </a:p>
      </dgm:t>
    </dgm:pt>
    <dgm:pt modelId="{F0A07345-21B0-428A-9D99-3C625E4BDF0E}">
      <dgm:prSet phldrT="[Texte]" custT="1"/>
      <dgm:spPr/>
      <dgm:t>
        <a:bodyPr/>
        <a:lstStyle/>
        <a:p>
          <a:pPr>
            <a:lnSpc>
              <a:spcPct val="100000"/>
            </a:lnSpc>
          </a:pPr>
          <a:r>
            <a:rPr lang="fr-FR" sz="4300" dirty="0"/>
            <a:t>  </a:t>
          </a:r>
          <a:r>
            <a:rPr lang="fr-FR" sz="3600" dirty="0" err="1">
              <a:latin typeface="Century Gothic" panose="020B0502020202020204" pitchFamily="34" charset="0"/>
            </a:rPr>
            <a:t>children</a:t>
          </a:r>
          <a:r>
            <a:rPr lang="fr-FR" sz="3600" dirty="0">
              <a:latin typeface="Century Gothic" panose="020B0502020202020204" pitchFamily="34" charset="0"/>
            </a:rPr>
            <a:t> </a:t>
          </a:r>
          <a:r>
            <a:rPr lang="fr-FR" sz="1600" dirty="0">
              <a:latin typeface="Century Gothic" panose="020B0502020202020204" pitchFamily="34" charset="0"/>
            </a:rPr>
            <a:t>and teenagers in </a:t>
          </a:r>
          <a:r>
            <a:rPr lang="fr-FR" sz="1600" dirty="0" err="1">
              <a:latin typeface="Century Gothic" panose="020B0502020202020204" pitchFamily="34" charset="0"/>
            </a:rPr>
            <a:t>schools</a:t>
          </a:r>
          <a:endParaRPr lang="fr-FR" sz="4300" dirty="0">
            <a:latin typeface="Century Gothic" panose="020B0502020202020204" pitchFamily="34" charset="0"/>
          </a:endParaRPr>
        </a:p>
      </dgm:t>
    </dgm:pt>
    <dgm:pt modelId="{5BEF148F-8790-479E-B5AD-416CBEAAFA2E}" type="parTrans" cxnId="{B8D98796-257C-4B7F-B539-297B9282C7FF}">
      <dgm:prSet/>
      <dgm:spPr/>
      <dgm:t>
        <a:bodyPr/>
        <a:lstStyle/>
        <a:p>
          <a:endParaRPr lang="fr-FR"/>
        </a:p>
      </dgm:t>
    </dgm:pt>
    <dgm:pt modelId="{2966C41A-088C-43A1-A185-1DBEFAC99660}" type="sibTrans" cxnId="{B8D98796-257C-4B7F-B539-297B9282C7FF}">
      <dgm:prSet/>
      <dgm:spPr/>
      <dgm:t>
        <a:bodyPr/>
        <a:lstStyle/>
        <a:p>
          <a:endParaRPr lang="fr-FR"/>
        </a:p>
      </dgm:t>
    </dgm:pt>
    <dgm:pt modelId="{4BD189E6-CE85-4D9A-B401-A18E3B76386C}">
      <dgm:prSet phldrT="[Texte]" custT="1"/>
      <dgm:spPr/>
      <dgm:t>
        <a:bodyPr/>
        <a:lstStyle/>
        <a:p>
          <a:r>
            <a:rPr lang="fr-FR" sz="4300" dirty="0"/>
            <a:t> </a:t>
          </a:r>
          <a:r>
            <a:rPr lang="fr-FR" sz="3600" dirty="0" err="1">
              <a:latin typeface="Century Gothic" panose="020B0502020202020204" pitchFamily="34" charset="0"/>
            </a:rPr>
            <a:t>small</a:t>
          </a:r>
          <a:r>
            <a:rPr lang="fr-FR" sz="3600" dirty="0">
              <a:latin typeface="Century Gothic" panose="020B0502020202020204" pitchFamily="34" charset="0"/>
            </a:rPr>
            <a:t> businesses </a:t>
          </a:r>
          <a:r>
            <a:rPr lang="fr-FR" sz="1600" dirty="0" err="1">
              <a:latin typeface="Century Gothic" panose="020B0502020202020204" pitchFamily="34" charset="0"/>
            </a:rPr>
            <a:t>supported</a:t>
          </a:r>
          <a:endParaRPr lang="fr-FR" sz="4300" dirty="0">
            <a:latin typeface="Century Gothic" panose="020B0502020202020204" pitchFamily="34" charset="0"/>
          </a:endParaRPr>
        </a:p>
      </dgm:t>
    </dgm:pt>
    <dgm:pt modelId="{462841DB-1C6E-4F89-A816-328755316DB8}" type="parTrans" cxnId="{6AEF313F-14FA-4EF6-8B1B-04D388C7FF07}">
      <dgm:prSet/>
      <dgm:spPr/>
      <dgm:t>
        <a:bodyPr/>
        <a:lstStyle/>
        <a:p>
          <a:endParaRPr lang="fr-FR"/>
        </a:p>
      </dgm:t>
    </dgm:pt>
    <dgm:pt modelId="{1DEE38B3-1AD6-486A-9FBC-1CFA2AF2C045}" type="sibTrans" cxnId="{6AEF313F-14FA-4EF6-8B1B-04D388C7FF07}">
      <dgm:prSet/>
      <dgm:spPr/>
      <dgm:t>
        <a:bodyPr/>
        <a:lstStyle/>
        <a:p>
          <a:endParaRPr lang="fr-FR"/>
        </a:p>
      </dgm:t>
    </dgm:pt>
    <dgm:pt modelId="{74C1C651-73EE-4CAE-AA84-222FCC5E717C}">
      <dgm:prSet phldrT="[Texte]" custT="1"/>
      <dgm:spPr/>
      <dgm:t>
        <a:bodyPr/>
        <a:lstStyle/>
        <a:p>
          <a:r>
            <a:rPr lang="fr-FR" sz="4300" dirty="0"/>
            <a:t> </a:t>
          </a:r>
          <a:r>
            <a:rPr lang="fr-FR" sz="3600" dirty="0" err="1">
              <a:latin typeface="Century Gothic" panose="020B0502020202020204" pitchFamily="34" charset="0"/>
            </a:rPr>
            <a:t>mothers</a:t>
          </a:r>
          <a:r>
            <a:rPr lang="fr-FR" sz="3600" dirty="0">
              <a:latin typeface="Century Gothic" panose="020B0502020202020204" pitchFamily="34" charset="0"/>
            </a:rPr>
            <a:t> and </a:t>
          </a:r>
          <a:r>
            <a:rPr lang="fr-FR" sz="3600" dirty="0" err="1">
              <a:latin typeface="Century Gothic" panose="020B0502020202020204" pitchFamily="34" charset="0"/>
            </a:rPr>
            <a:t>children</a:t>
          </a:r>
          <a:endParaRPr lang="fr-FR" sz="4300" dirty="0">
            <a:latin typeface="Century Gothic" panose="020B0502020202020204" pitchFamily="34" charset="0"/>
          </a:endParaRPr>
        </a:p>
      </dgm:t>
    </dgm:pt>
    <dgm:pt modelId="{935B73E2-B95A-40D8-9C50-3C2CB36AB12B}" type="parTrans" cxnId="{B9AB576F-AD35-4A84-8D47-0BFC037B7932}">
      <dgm:prSet/>
      <dgm:spPr/>
      <dgm:t>
        <a:bodyPr/>
        <a:lstStyle/>
        <a:p>
          <a:endParaRPr lang="fr-FR"/>
        </a:p>
      </dgm:t>
    </dgm:pt>
    <dgm:pt modelId="{D0B8D8DC-5798-4B0D-BBC0-E3AF01002A98}" type="sibTrans" cxnId="{B9AB576F-AD35-4A84-8D47-0BFC037B7932}">
      <dgm:prSet/>
      <dgm:spPr/>
      <dgm:t>
        <a:bodyPr/>
        <a:lstStyle/>
        <a:p>
          <a:endParaRPr lang="fr-FR"/>
        </a:p>
      </dgm:t>
    </dgm:pt>
    <dgm:pt modelId="{839E4A2E-8B69-41A5-9976-892332AE0782}" type="pres">
      <dgm:prSet presAssocID="{93801C57-D56C-4663-A269-EBAF71D4FB83}" presName="Name0" presStyleCnt="0">
        <dgm:presLayoutVars>
          <dgm:chMax val="7"/>
          <dgm:chPref val="7"/>
          <dgm:dir/>
        </dgm:presLayoutVars>
      </dgm:prSet>
      <dgm:spPr/>
    </dgm:pt>
    <dgm:pt modelId="{7C64671E-BE6C-4CA3-8C27-42A6C5D5D5BD}" type="pres">
      <dgm:prSet presAssocID="{93801C57-D56C-4663-A269-EBAF71D4FB83}" presName="Name1" presStyleCnt="0"/>
      <dgm:spPr/>
    </dgm:pt>
    <dgm:pt modelId="{F4D7EAF2-14D3-4B24-B3A1-C6C537F01427}" type="pres">
      <dgm:prSet presAssocID="{93801C57-D56C-4663-A269-EBAF71D4FB83}" presName="cycle" presStyleCnt="0"/>
      <dgm:spPr/>
    </dgm:pt>
    <dgm:pt modelId="{AE0D270E-1806-40FA-95D7-9BE37A846BF7}" type="pres">
      <dgm:prSet presAssocID="{93801C57-D56C-4663-A269-EBAF71D4FB83}" presName="srcNode" presStyleLbl="node1" presStyleIdx="0" presStyleCnt="4"/>
      <dgm:spPr/>
    </dgm:pt>
    <dgm:pt modelId="{2B321B37-AD03-4023-B341-DD1ED9881266}" type="pres">
      <dgm:prSet presAssocID="{93801C57-D56C-4663-A269-EBAF71D4FB83}" presName="conn" presStyleLbl="parChTrans1D2" presStyleIdx="0" presStyleCnt="1"/>
      <dgm:spPr/>
    </dgm:pt>
    <dgm:pt modelId="{7723B6FA-AF0D-4A9D-B6AD-CCF5F2F742BD}" type="pres">
      <dgm:prSet presAssocID="{93801C57-D56C-4663-A269-EBAF71D4FB83}" presName="extraNode" presStyleLbl="node1" presStyleIdx="0" presStyleCnt="4"/>
      <dgm:spPr/>
    </dgm:pt>
    <dgm:pt modelId="{BFC9C918-78EC-4B79-A918-810E99A1EF22}" type="pres">
      <dgm:prSet presAssocID="{93801C57-D56C-4663-A269-EBAF71D4FB83}" presName="dstNode" presStyleLbl="node1" presStyleIdx="0" presStyleCnt="4"/>
      <dgm:spPr/>
    </dgm:pt>
    <dgm:pt modelId="{602F79F4-7A63-411E-921A-E3AD56E7E38D}" type="pres">
      <dgm:prSet presAssocID="{5DD7EAC5-26BC-4AC5-9257-CA2A42576729}" presName="text_1" presStyleLbl="node1" presStyleIdx="0" presStyleCnt="4">
        <dgm:presLayoutVars>
          <dgm:bulletEnabled val="1"/>
        </dgm:presLayoutVars>
      </dgm:prSet>
      <dgm:spPr/>
    </dgm:pt>
    <dgm:pt modelId="{5D1B3D7A-35A8-4308-BF54-8A09C9D99B2F}" type="pres">
      <dgm:prSet presAssocID="{5DD7EAC5-26BC-4AC5-9257-CA2A42576729}" presName="accent_1" presStyleCnt="0"/>
      <dgm:spPr/>
    </dgm:pt>
    <dgm:pt modelId="{166ED245-D7AB-4373-A5C4-8CE7CBC5DA15}" type="pres">
      <dgm:prSet presAssocID="{5DD7EAC5-26BC-4AC5-9257-CA2A42576729}" presName="accentRepeatNode" presStyleLbl="solidFgAcc1" presStyleIdx="0" presStyleCnt="4" custScaleX="207292" custScaleY="207292"/>
      <dgm:spPr/>
    </dgm:pt>
    <dgm:pt modelId="{E0D374C5-02A4-490A-9740-4FEAC26FBEF7}" type="pres">
      <dgm:prSet presAssocID="{F0A07345-21B0-428A-9D99-3C625E4BDF0E}" presName="text_2" presStyleLbl="node1" presStyleIdx="1" presStyleCnt="4">
        <dgm:presLayoutVars>
          <dgm:bulletEnabled val="1"/>
        </dgm:presLayoutVars>
      </dgm:prSet>
      <dgm:spPr/>
    </dgm:pt>
    <dgm:pt modelId="{01B0E276-D148-41E2-B150-3019511786E2}" type="pres">
      <dgm:prSet presAssocID="{F0A07345-21B0-428A-9D99-3C625E4BDF0E}" presName="accent_2" presStyleCnt="0"/>
      <dgm:spPr/>
    </dgm:pt>
    <dgm:pt modelId="{CA2CD7BD-3443-45EE-B81C-D91B596C347B}" type="pres">
      <dgm:prSet presAssocID="{F0A07345-21B0-428A-9D99-3C625E4BDF0E}" presName="accentRepeatNode" presStyleLbl="solidFgAcc1" presStyleIdx="1" presStyleCnt="4" custScaleX="155469" custScaleY="155469" custLinFactNeighborX="-975" custLinFactNeighborY="6297"/>
      <dgm:spPr/>
    </dgm:pt>
    <dgm:pt modelId="{C3B76533-9C10-49A5-B1A5-AE18C0DE483F}" type="pres">
      <dgm:prSet presAssocID="{4BD189E6-CE85-4D9A-B401-A18E3B76386C}" presName="text_3" presStyleLbl="node1" presStyleIdx="2" presStyleCnt="4">
        <dgm:presLayoutVars>
          <dgm:bulletEnabled val="1"/>
        </dgm:presLayoutVars>
      </dgm:prSet>
      <dgm:spPr/>
    </dgm:pt>
    <dgm:pt modelId="{261A0604-4C6C-44CB-B8A1-3B6532F11E6E}" type="pres">
      <dgm:prSet presAssocID="{4BD189E6-CE85-4D9A-B401-A18E3B76386C}" presName="accent_3" presStyleCnt="0"/>
      <dgm:spPr/>
    </dgm:pt>
    <dgm:pt modelId="{B271273B-0341-40BA-A81D-8AF3C2A7253F}" type="pres">
      <dgm:prSet presAssocID="{4BD189E6-CE85-4D9A-B401-A18E3B76386C}" presName="accentRepeatNode" presStyleLbl="solidFgAcc1" presStyleIdx="2" presStyleCnt="4" custScaleX="155469" custScaleY="155469" custLinFactNeighborX="-5850" custLinFactNeighborY="10044"/>
      <dgm:spPr/>
    </dgm:pt>
    <dgm:pt modelId="{8FD02DED-1B78-46CA-B256-ACE76FC1CA58}" type="pres">
      <dgm:prSet presAssocID="{74C1C651-73EE-4CAE-AA84-222FCC5E717C}" presName="text_4" presStyleLbl="node1" presStyleIdx="3" presStyleCnt="4" custLinFactNeighborX="74" custLinFactNeighborY="692">
        <dgm:presLayoutVars>
          <dgm:bulletEnabled val="1"/>
        </dgm:presLayoutVars>
      </dgm:prSet>
      <dgm:spPr/>
    </dgm:pt>
    <dgm:pt modelId="{23AD3427-E3E2-4C2E-9741-81CE37ACD7B4}" type="pres">
      <dgm:prSet presAssocID="{74C1C651-73EE-4CAE-AA84-222FCC5E717C}" presName="accent_4" presStyleCnt="0"/>
      <dgm:spPr/>
    </dgm:pt>
    <dgm:pt modelId="{BD5C488E-9106-4444-8424-650E773D2FE6}" type="pres">
      <dgm:prSet presAssocID="{74C1C651-73EE-4CAE-AA84-222FCC5E717C}" presName="accentRepeatNode" presStyleLbl="solidFgAcc1" presStyleIdx="3" presStyleCnt="4" custScaleX="120920" custScaleY="120920"/>
      <dgm:spPr/>
    </dgm:pt>
  </dgm:ptLst>
  <dgm:cxnLst>
    <dgm:cxn modelId="{C6972801-D214-4F64-B505-FCE1D7DE9472}" type="presOf" srcId="{F0A07345-21B0-428A-9D99-3C625E4BDF0E}" destId="{E0D374C5-02A4-490A-9740-4FEAC26FBEF7}" srcOrd="0" destOrd="0" presId="urn:microsoft.com/office/officeart/2008/layout/VerticalCurvedList"/>
    <dgm:cxn modelId="{314B2221-D076-49AE-B226-3AFB1C0082BC}" type="presOf" srcId="{74C1C651-73EE-4CAE-AA84-222FCC5E717C}" destId="{8FD02DED-1B78-46CA-B256-ACE76FC1CA58}" srcOrd="0" destOrd="0" presId="urn:microsoft.com/office/officeart/2008/layout/VerticalCurvedList"/>
    <dgm:cxn modelId="{6AEF313F-14FA-4EF6-8B1B-04D388C7FF07}" srcId="{93801C57-D56C-4663-A269-EBAF71D4FB83}" destId="{4BD189E6-CE85-4D9A-B401-A18E3B76386C}" srcOrd="2" destOrd="0" parTransId="{462841DB-1C6E-4F89-A816-328755316DB8}" sibTransId="{1DEE38B3-1AD6-486A-9FBC-1CFA2AF2C045}"/>
    <dgm:cxn modelId="{B9AB576F-AD35-4A84-8D47-0BFC037B7932}" srcId="{93801C57-D56C-4663-A269-EBAF71D4FB83}" destId="{74C1C651-73EE-4CAE-AA84-222FCC5E717C}" srcOrd="3" destOrd="0" parTransId="{935B73E2-B95A-40D8-9C50-3C2CB36AB12B}" sibTransId="{D0B8D8DC-5798-4B0D-BBC0-E3AF01002A98}"/>
    <dgm:cxn modelId="{21A03082-4445-4B72-8590-3AE101861EE2}" type="presOf" srcId="{4BD189E6-CE85-4D9A-B401-A18E3B76386C}" destId="{C3B76533-9C10-49A5-B1A5-AE18C0DE483F}" srcOrd="0" destOrd="0" presId="urn:microsoft.com/office/officeart/2008/layout/VerticalCurvedList"/>
    <dgm:cxn modelId="{4EFD6E90-DD65-4DE2-91D9-AEC77CFDD191}" type="presOf" srcId="{93801C57-D56C-4663-A269-EBAF71D4FB83}" destId="{839E4A2E-8B69-41A5-9976-892332AE0782}" srcOrd="0" destOrd="0" presId="urn:microsoft.com/office/officeart/2008/layout/VerticalCurvedList"/>
    <dgm:cxn modelId="{B8D98796-257C-4B7F-B539-297B9282C7FF}" srcId="{93801C57-D56C-4663-A269-EBAF71D4FB83}" destId="{F0A07345-21B0-428A-9D99-3C625E4BDF0E}" srcOrd="1" destOrd="0" parTransId="{5BEF148F-8790-479E-B5AD-416CBEAAFA2E}" sibTransId="{2966C41A-088C-43A1-A185-1DBEFAC99660}"/>
    <dgm:cxn modelId="{00F83E9D-CB6B-4AB1-B182-B4414FB67D2E}" type="presOf" srcId="{46304756-F6C0-4E36-85D8-79BD7CAD182B}" destId="{2B321B37-AD03-4023-B341-DD1ED9881266}" srcOrd="0" destOrd="0" presId="urn:microsoft.com/office/officeart/2008/layout/VerticalCurvedList"/>
    <dgm:cxn modelId="{C5D425AE-6459-46B1-8968-BC7A1360DF92}" type="presOf" srcId="{5DD7EAC5-26BC-4AC5-9257-CA2A42576729}" destId="{602F79F4-7A63-411E-921A-E3AD56E7E38D}" srcOrd="0" destOrd="0" presId="urn:microsoft.com/office/officeart/2008/layout/VerticalCurvedList"/>
    <dgm:cxn modelId="{889D89D3-68C7-4FAE-8314-4EA96DA72863}" srcId="{93801C57-D56C-4663-A269-EBAF71D4FB83}" destId="{5DD7EAC5-26BC-4AC5-9257-CA2A42576729}" srcOrd="0" destOrd="0" parTransId="{329CE3A1-9872-418B-8278-466824995DE8}" sibTransId="{46304756-F6C0-4E36-85D8-79BD7CAD182B}"/>
    <dgm:cxn modelId="{C0C82A1C-B690-4BBA-BB32-99B3CFE92230}" type="presParOf" srcId="{839E4A2E-8B69-41A5-9976-892332AE0782}" destId="{7C64671E-BE6C-4CA3-8C27-42A6C5D5D5BD}" srcOrd="0" destOrd="0" presId="urn:microsoft.com/office/officeart/2008/layout/VerticalCurvedList"/>
    <dgm:cxn modelId="{50D81294-A1A9-4003-95FA-4E4A6ECA3011}" type="presParOf" srcId="{7C64671E-BE6C-4CA3-8C27-42A6C5D5D5BD}" destId="{F4D7EAF2-14D3-4B24-B3A1-C6C537F01427}" srcOrd="0" destOrd="0" presId="urn:microsoft.com/office/officeart/2008/layout/VerticalCurvedList"/>
    <dgm:cxn modelId="{EA3F3252-DEB0-4687-BC7F-66E333520C83}" type="presParOf" srcId="{F4D7EAF2-14D3-4B24-B3A1-C6C537F01427}" destId="{AE0D270E-1806-40FA-95D7-9BE37A846BF7}" srcOrd="0" destOrd="0" presId="urn:microsoft.com/office/officeart/2008/layout/VerticalCurvedList"/>
    <dgm:cxn modelId="{3F112D08-1643-40DD-B504-3132AAF9A918}" type="presParOf" srcId="{F4D7EAF2-14D3-4B24-B3A1-C6C537F01427}" destId="{2B321B37-AD03-4023-B341-DD1ED9881266}" srcOrd="1" destOrd="0" presId="urn:microsoft.com/office/officeart/2008/layout/VerticalCurvedList"/>
    <dgm:cxn modelId="{93BB6331-105D-43DA-A117-BC1C2623DA69}" type="presParOf" srcId="{F4D7EAF2-14D3-4B24-B3A1-C6C537F01427}" destId="{7723B6FA-AF0D-4A9D-B6AD-CCF5F2F742BD}" srcOrd="2" destOrd="0" presId="urn:microsoft.com/office/officeart/2008/layout/VerticalCurvedList"/>
    <dgm:cxn modelId="{13C4A4F8-8D19-4DF3-B3F8-A892D577A0E5}" type="presParOf" srcId="{F4D7EAF2-14D3-4B24-B3A1-C6C537F01427}" destId="{BFC9C918-78EC-4B79-A918-810E99A1EF22}" srcOrd="3" destOrd="0" presId="urn:microsoft.com/office/officeart/2008/layout/VerticalCurvedList"/>
    <dgm:cxn modelId="{3B0C99A0-D93B-4A99-A58D-7C04E13E6504}" type="presParOf" srcId="{7C64671E-BE6C-4CA3-8C27-42A6C5D5D5BD}" destId="{602F79F4-7A63-411E-921A-E3AD56E7E38D}" srcOrd="1" destOrd="0" presId="urn:microsoft.com/office/officeart/2008/layout/VerticalCurvedList"/>
    <dgm:cxn modelId="{8E5DC7D0-AEBE-4ADB-949B-E3425B83E95B}" type="presParOf" srcId="{7C64671E-BE6C-4CA3-8C27-42A6C5D5D5BD}" destId="{5D1B3D7A-35A8-4308-BF54-8A09C9D99B2F}" srcOrd="2" destOrd="0" presId="urn:microsoft.com/office/officeart/2008/layout/VerticalCurvedList"/>
    <dgm:cxn modelId="{501D59A0-B131-4395-97A7-26CE8C51BD47}" type="presParOf" srcId="{5D1B3D7A-35A8-4308-BF54-8A09C9D99B2F}" destId="{166ED245-D7AB-4373-A5C4-8CE7CBC5DA15}" srcOrd="0" destOrd="0" presId="urn:microsoft.com/office/officeart/2008/layout/VerticalCurvedList"/>
    <dgm:cxn modelId="{9B22977F-B64B-477F-8CD2-A0BF0AD7655C}" type="presParOf" srcId="{7C64671E-BE6C-4CA3-8C27-42A6C5D5D5BD}" destId="{E0D374C5-02A4-490A-9740-4FEAC26FBEF7}" srcOrd="3" destOrd="0" presId="urn:microsoft.com/office/officeart/2008/layout/VerticalCurvedList"/>
    <dgm:cxn modelId="{421A8329-6A44-464E-965E-3F00B16B44F7}" type="presParOf" srcId="{7C64671E-BE6C-4CA3-8C27-42A6C5D5D5BD}" destId="{01B0E276-D148-41E2-B150-3019511786E2}" srcOrd="4" destOrd="0" presId="urn:microsoft.com/office/officeart/2008/layout/VerticalCurvedList"/>
    <dgm:cxn modelId="{0F38D160-81C1-4920-81F9-49907672093E}" type="presParOf" srcId="{01B0E276-D148-41E2-B150-3019511786E2}" destId="{CA2CD7BD-3443-45EE-B81C-D91B596C347B}" srcOrd="0" destOrd="0" presId="urn:microsoft.com/office/officeart/2008/layout/VerticalCurvedList"/>
    <dgm:cxn modelId="{A329922B-D73C-4719-80C4-55371B248822}" type="presParOf" srcId="{7C64671E-BE6C-4CA3-8C27-42A6C5D5D5BD}" destId="{C3B76533-9C10-49A5-B1A5-AE18C0DE483F}" srcOrd="5" destOrd="0" presId="urn:microsoft.com/office/officeart/2008/layout/VerticalCurvedList"/>
    <dgm:cxn modelId="{D26C3AB2-8A33-47FC-B83F-644589CEF041}" type="presParOf" srcId="{7C64671E-BE6C-4CA3-8C27-42A6C5D5D5BD}" destId="{261A0604-4C6C-44CB-B8A1-3B6532F11E6E}" srcOrd="6" destOrd="0" presId="urn:microsoft.com/office/officeart/2008/layout/VerticalCurvedList"/>
    <dgm:cxn modelId="{279C8A07-64F6-4BB7-BC84-BCBCA23736E2}" type="presParOf" srcId="{261A0604-4C6C-44CB-B8A1-3B6532F11E6E}" destId="{B271273B-0341-40BA-A81D-8AF3C2A7253F}" srcOrd="0" destOrd="0" presId="urn:microsoft.com/office/officeart/2008/layout/VerticalCurvedList"/>
    <dgm:cxn modelId="{7C833711-D9B1-4927-88D9-7895EE7CD167}" type="presParOf" srcId="{7C64671E-BE6C-4CA3-8C27-42A6C5D5D5BD}" destId="{8FD02DED-1B78-46CA-B256-ACE76FC1CA58}" srcOrd="7" destOrd="0" presId="urn:microsoft.com/office/officeart/2008/layout/VerticalCurvedList"/>
    <dgm:cxn modelId="{1BFBA8D7-EA36-4617-9A83-3D3F1A4E3BA2}" type="presParOf" srcId="{7C64671E-BE6C-4CA3-8C27-42A6C5D5D5BD}" destId="{23AD3427-E3E2-4C2E-9741-81CE37ACD7B4}" srcOrd="8" destOrd="0" presId="urn:microsoft.com/office/officeart/2008/layout/VerticalCurvedList"/>
    <dgm:cxn modelId="{701F2E6C-4709-4C4D-BFC0-4DE3C9BC208F}" type="presParOf" srcId="{23AD3427-E3E2-4C2E-9741-81CE37ACD7B4}" destId="{BD5C488E-9106-4444-8424-650E773D2FE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63BA4A-83A9-4A77-9CF4-E600563D83EE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533AF49-49C3-4328-BB23-4EA42E3A202E}">
      <dgm:prSet phldrT="[Texte]" custT="1"/>
      <dgm:spPr>
        <a:solidFill>
          <a:schemeClr val="tx2"/>
        </a:solidFill>
      </dgm:spPr>
      <dgm:t>
        <a:bodyPr anchor="t"/>
        <a:lstStyle/>
        <a:p>
          <a:pPr algn="l"/>
          <a:r>
            <a:rPr lang="fr-FR" sz="2000" dirty="0">
              <a:latin typeface="Century Gothic" panose="020B0502020202020204" pitchFamily="34" charset="0"/>
            </a:rPr>
            <a:t>VOCATIONAL TRAINING AND EMPLOYMENT</a:t>
          </a:r>
        </a:p>
        <a:p>
          <a:pPr algn="l"/>
          <a:endParaRPr lang="fr-FR" sz="900" dirty="0">
            <a:latin typeface="Century Gothic" panose="020B0502020202020204" pitchFamily="34" charset="0"/>
          </a:endParaRPr>
        </a:p>
        <a:p>
          <a:pPr algn="l"/>
          <a:r>
            <a:rPr lang="fr-FR" sz="1200" b="0" dirty="0">
              <a:latin typeface="Century Gothic" panose="020B0502020202020204" pitchFamily="34" charset="0"/>
            </a:rPr>
            <a:t>- SEEDS OF HOPE (SOH) </a:t>
          </a:r>
          <a:r>
            <a:rPr lang="fr-FR" sz="1050" b="0" dirty="0">
              <a:latin typeface="Century Gothic" panose="020B0502020202020204" pitchFamily="34" charset="0"/>
            </a:rPr>
            <a:t>Training for </a:t>
          </a:r>
          <a:r>
            <a:rPr lang="fr-FR" sz="1050" b="0" dirty="0" err="1">
              <a:latin typeface="Century Gothic" panose="020B0502020202020204" pitchFamily="34" charset="0"/>
            </a:rPr>
            <a:t>careers</a:t>
          </a:r>
          <a:r>
            <a:rPr lang="fr-FR" sz="1050" b="0" dirty="0">
              <a:latin typeface="Century Gothic" panose="020B0502020202020204" pitchFamily="34" charset="0"/>
            </a:rPr>
            <a:t> in INDUSTRY, ENERGY AND MAINTENANCE.</a:t>
          </a:r>
        </a:p>
        <a:p>
          <a:r>
            <a:rPr lang="fr-FR" sz="1200" b="0" dirty="0">
              <a:latin typeface="Century Gothic" panose="020B0502020202020204" pitchFamily="34" charset="0"/>
            </a:rPr>
            <a:t>- FAMILY FARM SCHOOLS (FFS)</a:t>
          </a:r>
        </a:p>
        <a:p>
          <a:r>
            <a:rPr lang="fr-FR" sz="1200" b="0" dirty="0">
              <a:latin typeface="Century Gothic" panose="020B0502020202020204" pitchFamily="34" charset="0"/>
            </a:rPr>
            <a:t>- Training for </a:t>
          </a:r>
          <a:r>
            <a:rPr lang="fr-FR" sz="1200" b="0" dirty="0" err="1">
              <a:latin typeface="Century Gothic" panose="020B0502020202020204" pitchFamily="34" charset="0"/>
            </a:rPr>
            <a:t>careers</a:t>
          </a:r>
          <a:r>
            <a:rPr lang="fr-FR" sz="1200" b="0" dirty="0">
              <a:latin typeface="Century Gothic" panose="020B0502020202020204" pitchFamily="34" charset="0"/>
            </a:rPr>
            <a:t> in HOSPITALITY-CATERING</a:t>
          </a:r>
        </a:p>
        <a:p>
          <a:r>
            <a:rPr lang="fr-FR" sz="1200" b="0" dirty="0">
              <a:latin typeface="Century Gothic" panose="020B0502020202020204" pitchFamily="34" charset="0"/>
            </a:rPr>
            <a:t>- SPECIFIC TRAINING AND SHORT TRAINING COURSES – </a:t>
          </a:r>
          <a:r>
            <a:rPr lang="fr-FR" sz="1200" b="0" dirty="0" err="1">
              <a:latin typeface="Century Gothic" panose="020B0502020202020204" pitchFamily="34" charset="0"/>
            </a:rPr>
            <a:t>Various</a:t>
          </a:r>
          <a:r>
            <a:rPr lang="fr-FR" sz="1200" b="0" dirty="0">
              <a:latin typeface="Century Gothic" panose="020B0502020202020204" pitchFamily="34" charset="0"/>
            </a:rPr>
            <a:t> </a:t>
          </a:r>
          <a:r>
            <a:rPr lang="fr-FR" sz="1200" b="0" dirty="0" err="1">
              <a:latin typeface="Century Gothic" panose="020B0502020202020204" pitchFamily="34" charset="0"/>
            </a:rPr>
            <a:t>sectors</a:t>
          </a:r>
          <a:endParaRPr lang="fr-FR" sz="1200" b="0" dirty="0">
            <a:latin typeface="Century Gothic" panose="020B0502020202020204" pitchFamily="34" charset="0"/>
          </a:endParaRPr>
        </a:p>
        <a:p>
          <a:r>
            <a:rPr lang="fr-FR" sz="1200" b="0" dirty="0">
              <a:latin typeface="Century Gothic" panose="020B0502020202020204" pitchFamily="34" charset="0"/>
            </a:rPr>
            <a:t>- ACCESS TO EMPLOYMENT</a:t>
          </a:r>
          <a:endParaRPr lang="fr-FR" sz="1050" b="0" dirty="0">
            <a:latin typeface="Century Gothic" panose="020B0502020202020204" pitchFamily="34" charset="0"/>
          </a:endParaRPr>
        </a:p>
      </dgm:t>
    </dgm:pt>
    <dgm:pt modelId="{066FA027-6165-47D9-A47C-4D4B72E81073}" type="parTrans" cxnId="{71C02E3D-17E1-4588-80F3-258E57AB95C4}">
      <dgm:prSet/>
      <dgm:spPr/>
      <dgm:t>
        <a:bodyPr/>
        <a:lstStyle/>
        <a:p>
          <a:endParaRPr lang="fr-FR"/>
        </a:p>
      </dgm:t>
    </dgm:pt>
    <dgm:pt modelId="{1591090E-306E-4BC1-B095-F3146362F0D4}" type="sibTrans" cxnId="{71C02E3D-17E1-4588-80F3-258E57AB95C4}">
      <dgm:prSet/>
      <dgm:spPr/>
      <dgm:t>
        <a:bodyPr/>
        <a:lstStyle/>
        <a:p>
          <a:endParaRPr lang="fr-FR"/>
        </a:p>
      </dgm:t>
    </dgm:pt>
    <dgm:pt modelId="{EF6C68EB-60C6-4335-961D-3FF209306CDD}">
      <dgm:prSet phldrT="[Texte]" custT="1"/>
      <dgm:spPr>
        <a:solidFill>
          <a:schemeClr val="accent4"/>
        </a:solidFill>
      </dgm:spPr>
      <dgm:t>
        <a:bodyPr anchor="t"/>
        <a:lstStyle/>
        <a:p>
          <a:pPr algn="l"/>
          <a:endParaRPr lang="fr-FR" sz="1600" dirty="0">
            <a:latin typeface="Century Gothic" panose="020B0502020202020204" pitchFamily="34" charset="0"/>
          </a:endParaRPr>
        </a:p>
        <a:p>
          <a:pPr algn="l"/>
          <a:r>
            <a:rPr lang="fr-FR" sz="2000" dirty="0">
              <a:latin typeface="Century Gothic" panose="020B0502020202020204" pitchFamily="34" charset="0"/>
            </a:rPr>
            <a:t>ENTREPRENEURSHIP</a:t>
          </a:r>
        </a:p>
        <a:p>
          <a:pPr algn="l"/>
          <a:endParaRPr lang="fr-FR" sz="1600" b="1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SUPPORT TO SMALL URBAN ENTERPRISES</a:t>
          </a:r>
        </a:p>
        <a:p>
          <a:endParaRPr lang="fr-FR" sz="1400" b="0" dirty="0">
            <a:latin typeface="Century Gothic" panose="020B0502020202020204" pitchFamily="34" charset="0"/>
          </a:endParaRPr>
        </a:p>
        <a:p>
          <a:r>
            <a:rPr lang="fr-FR" sz="1400" b="0" dirty="0">
              <a:latin typeface="Century Gothic" panose="020B0502020202020204" pitchFamily="34" charset="0"/>
            </a:rPr>
            <a:t>- RURAL ENTREPRENEURSHIP</a:t>
          </a:r>
          <a:endParaRPr lang="fr-FR" sz="800" b="0" dirty="0">
            <a:latin typeface="Century Gothic" panose="020B0502020202020204" pitchFamily="34" charset="0"/>
          </a:endParaRPr>
        </a:p>
      </dgm:t>
    </dgm:pt>
    <dgm:pt modelId="{59697C62-2CEF-429B-A550-D7D37A90AC5B}" type="parTrans" cxnId="{B7CA8A7D-3EFE-43E2-B1B0-698E8ED3A533}">
      <dgm:prSet/>
      <dgm:spPr/>
      <dgm:t>
        <a:bodyPr/>
        <a:lstStyle/>
        <a:p>
          <a:endParaRPr lang="fr-FR"/>
        </a:p>
      </dgm:t>
    </dgm:pt>
    <dgm:pt modelId="{C4668E97-F056-4BC6-83FD-E2CDCAFFF36B}" type="sibTrans" cxnId="{B7CA8A7D-3EFE-43E2-B1B0-698E8ED3A533}">
      <dgm:prSet/>
      <dgm:spPr/>
      <dgm:t>
        <a:bodyPr/>
        <a:lstStyle/>
        <a:p>
          <a:endParaRPr lang="fr-FR"/>
        </a:p>
      </dgm:t>
    </dgm:pt>
    <dgm:pt modelId="{E8D42F98-85D2-4FD0-BAC6-87221E451FC1}">
      <dgm:prSet phldrT="[Texte]" custT="1"/>
      <dgm:spPr/>
      <dgm:t>
        <a:bodyPr anchor="t"/>
        <a:lstStyle/>
        <a:p>
          <a:pPr algn="l"/>
          <a:endParaRPr lang="fr-FR" sz="1600" dirty="0">
            <a:latin typeface="Century Gothic" panose="020B0502020202020204" pitchFamily="34" charset="0"/>
          </a:endParaRPr>
        </a:p>
        <a:p>
          <a:pPr algn="l"/>
          <a:r>
            <a:rPr lang="fr-FR" sz="2000" dirty="0">
              <a:latin typeface="Century Gothic" panose="020B0502020202020204" pitchFamily="34" charset="0"/>
            </a:rPr>
            <a:t>EDUCATION</a:t>
          </a:r>
          <a:endParaRPr lang="fr-FR" sz="1600" b="1" dirty="0">
            <a:latin typeface="Century Gothic" panose="020B0502020202020204" pitchFamily="34" charset="0"/>
          </a:endParaRPr>
        </a:p>
        <a:p>
          <a:pPr algn="l"/>
          <a:endParaRPr lang="fr-FR" sz="1600" b="1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EDUCATION AND REMEDIATION STRENGTHENING (CERES-SESAME)</a:t>
          </a:r>
        </a:p>
        <a:p>
          <a:pPr algn="l"/>
          <a:endParaRPr lang="fr-FR" sz="1400" b="0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ACTIONS FOR REFUGEES and FOR PEOPLE WITH DISABILITIES</a:t>
          </a:r>
        </a:p>
      </dgm:t>
    </dgm:pt>
    <dgm:pt modelId="{9FDDDE79-E816-4FBB-A787-46DB01A793AC}" type="parTrans" cxnId="{4ECB45E8-AE2F-43A8-8432-00C7DAABA5BF}">
      <dgm:prSet/>
      <dgm:spPr/>
      <dgm:t>
        <a:bodyPr/>
        <a:lstStyle/>
        <a:p>
          <a:endParaRPr lang="fr-FR"/>
        </a:p>
      </dgm:t>
    </dgm:pt>
    <dgm:pt modelId="{DF97ED0D-24A8-4808-A7CA-A269F1A553B1}" type="sibTrans" cxnId="{4ECB45E8-AE2F-43A8-8432-00C7DAABA5BF}">
      <dgm:prSet/>
      <dgm:spPr/>
      <dgm:t>
        <a:bodyPr/>
        <a:lstStyle/>
        <a:p>
          <a:endParaRPr lang="fr-FR"/>
        </a:p>
      </dgm:t>
    </dgm:pt>
    <dgm:pt modelId="{E123CFD5-1CD5-4B85-9A62-C2D8469D9C6F}">
      <dgm:prSet phldrT="[Texte]" custT="1"/>
      <dgm:spPr>
        <a:solidFill>
          <a:schemeClr val="accent3"/>
        </a:solidFill>
      </dgm:spPr>
      <dgm:t>
        <a:bodyPr anchor="t"/>
        <a:lstStyle/>
        <a:p>
          <a:pPr algn="l">
            <a:lnSpc>
              <a:spcPct val="90000"/>
            </a:lnSpc>
          </a:pPr>
          <a:endParaRPr lang="fr-FR" sz="1600" dirty="0">
            <a:latin typeface="Century Gothic" panose="020B0502020202020204" pitchFamily="34" charset="0"/>
          </a:endParaRPr>
        </a:p>
        <a:p>
          <a:pPr algn="l">
            <a:lnSpc>
              <a:spcPct val="90000"/>
            </a:lnSpc>
          </a:pPr>
          <a:r>
            <a:rPr lang="fr-FR" sz="2000" dirty="0">
              <a:latin typeface="Century Gothic" panose="020B0502020202020204" pitchFamily="34" charset="0"/>
            </a:rPr>
            <a:t>HEALTHCARE</a:t>
          </a:r>
        </a:p>
        <a:p>
          <a:pPr algn="l">
            <a:lnSpc>
              <a:spcPct val="90000"/>
            </a:lnSpc>
          </a:pPr>
          <a:endParaRPr lang="fr-FR" sz="1600" b="0" dirty="0">
            <a:latin typeface="Century Gothic" panose="020B0502020202020204" pitchFamily="34" charset="0"/>
          </a:endParaRPr>
        </a:p>
        <a:p>
          <a:pPr algn="l">
            <a:lnSpc>
              <a:spcPct val="90000"/>
            </a:lnSpc>
          </a:pPr>
          <a:r>
            <a:rPr lang="fr-FR" sz="1400" b="0" dirty="0">
              <a:latin typeface="Century Gothic" panose="020B0502020202020204" pitchFamily="34" charset="0"/>
            </a:rPr>
            <a:t>- SUPPORT TO HEALTHCARE STRUCTURES</a:t>
          </a:r>
        </a:p>
        <a:p>
          <a:pPr algn="l">
            <a:lnSpc>
              <a:spcPct val="90000"/>
            </a:lnSpc>
          </a:pPr>
          <a:endParaRPr lang="fr-FR" sz="1400" b="0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IMPROVEMENT OF HEALTHCARE FOR PEOPLE SUFFERING OF SICKLE-CELL DISEASE</a:t>
          </a:r>
        </a:p>
      </dgm:t>
    </dgm:pt>
    <dgm:pt modelId="{BE167224-E544-4306-B7FE-3139960D5F3A}" type="parTrans" cxnId="{32446147-8D00-404B-AA10-9328FF05FF67}">
      <dgm:prSet/>
      <dgm:spPr/>
      <dgm:t>
        <a:bodyPr/>
        <a:lstStyle/>
        <a:p>
          <a:endParaRPr lang="fr-FR"/>
        </a:p>
      </dgm:t>
    </dgm:pt>
    <dgm:pt modelId="{97B309C8-D9C0-447F-B5B9-336480ABFDD2}" type="sibTrans" cxnId="{32446147-8D00-404B-AA10-9328FF05FF67}">
      <dgm:prSet/>
      <dgm:spPr/>
      <dgm:t>
        <a:bodyPr/>
        <a:lstStyle/>
        <a:p>
          <a:endParaRPr lang="fr-FR"/>
        </a:p>
      </dgm:t>
    </dgm:pt>
    <dgm:pt modelId="{2868B8A3-6240-43C8-8F08-A0A076E29921}" type="pres">
      <dgm:prSet presAssocID="{8563BA4A-83A9-4A77-9CF4-E600563D83EE}" presName="Name0" presStyleCnt="0">
        <dgm:presLayoutVars>
          <dgm:dir/>
          <dgm:resizeHandles val="exact"/>
        </dgm:presLayoutVars>
      </dgm:prSet>
      <dgm:spPr/>
    </dgm:pt>
    <dgm:pt modelId="{FC4309C4-079E-4A8F-99DA-354BA0713D00}" type="pres">
      <dgm:prSet presAssocID="{8563BA4A-83A9-4A77-9CF4-E600563D83EE}" presName="fgShape" presStyleLbl="fgShp" presStyleIdx="0" presStyleCnt="1" custScaleY="17090" custLinFactNeighborX="-1126" custLinFactNeighborY="93735"/>
      <dgm:spPr/>
    </dgm:pt>
    <dgm:pt modelId="{75B74D5A-F8C3-480D-A631-141D530C8D62}" type="pres">
      <dgm:prSet presAssocID="{8563BA4A-83A9-4A77-9CF4-E600563D83EE}" presName="linComp" presStyleCnt="0"/>
      <dgm:spPr/>
    </dgm:pt>
    <dgm:pt modelId="{C7C3A843-2AB4-4796-B640-E7F6A269D847}" type="pres">
      <dgm:prSet presAssocID="{9533AF49-49C3-4328-BB23-4EA42E3A202E}" presName="compNode" presStyleCnt="0"/>
      <dgm:spPr/>
    </dgm:pt>
    <dgm:pt modelId="{24DFFAD6-E576-48E6-8F9F-F8FB6A58F073}" type="pres">
      <dgm:prSet presAssocID="{9533AF49-49C3-4328-BB23-4EA42E3A202E}" presName="bkgdShape" presStyleLbl="node1" presStyleIdx="0" presStyleCnt="4"/>
      <dgm:spPr/>
    </dgm:pt>
    <dgm:pt modelId="{A33569C6-0081-44C6-A6F5-317E395599C0}" type="pres">
      <dgm:prSet presAssocID="{9533AF49-49C3-4328-BB23-4EA42E3A202E}" presName="nodeTx" presStyleLbl="node1" presStyleIdx="0" presStyleCnt="4">
        <dgm:presLayoutVars>
          <dgm:bulletEnabled val="1"/>
        </dgm:presLayoutVars>
      </dgm:prSet>
      <dgm:spPr/>
    </dgm:pt>
    <dgm:pt modelId="{EE1B9F9A-67C6-4EA7-82D5-2633F596D74A}" type="pres">
      <dgm:prSet presAssocID="{9533AF49-49C3-4328-BB23-4EA42E3A202E}" presName="invisiNode" presStyleLbl="node1" presStyleIdx="0" presStyleCnt="4"/>
      <dgm:spPr/>
    </dgm:pt>
    <dgm:pt modelId="{57C7A40F-968A-4334-AD61-5FBFB1B92AD9}" type="pres">
      <dgm:prSet presAssocID="{9533AF49-49C3-4328-BB23-4EA42E3A202E}" presName="imagNode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</dgm:spPr>
    </dgm:pt>
    <dgm:pt modelId="{0C80F2F9-B62B-4DC2-9EEE-19B00C045A6A}" type="pres">
      <dgm:prSet presAssocID="{1591090E-306E-4BC1-B095-F3146362F0D4}" presName="sibTrans" presStyleLbl="sibTrans2D1" presStyleIdx="0" presStyleCnt="0"/>
      <dgm:spPr/>
    </dgm:pt>
    <dgm:pt modelId="{F0F23F42-8346-4257-A479-3037914A42E5}" type="pres">
      <dgm:prSet presAssocID="{EF6C68EB-60C6-4335-961D-3FF209306CDD}" presName="compNode" presStyleCnt="0"/>
      <dgm:spPr/>
    </dgm:pt>
    <dgm:pt modelId="{AF6B45BE-22DC-48EA-9F90-96AF86325093}" type="pres">
      <dgm:prSet presAssocID="{EF6C68EB-60C6-4335-961D-3FF209306CDD}" presName="bkgdShape" presStyleLbl="node1" presStyleIdx="1" presStyleCnt="4"/>
      <dgm:spPr/>
    </dgm:pt>
    <dgm:pt modelId="{44ECA466-9919-463E-8998-7D564F70A2B9}" type="pres">
      <dgm:prSet presAssocID="{EF6C68EB-60C6-4335-961D-3FF209306CDD}" presName="nodeTx" presStyleLbl="node1" presStyleIdx="1" presStyleCnt="4">
        <dgm:presLayoutVars>
          <dgm:bulletEnabled val="1"/>
        </dgm:presLayoutVars>
      </dgm:prSet>
      <dgm:spPr/>
    </dgm:pt>
    <dgm:pt modelId="{5CC96A45-47AC-4B94-B31C-8B52DB1F3610}" type="pres">
      <dgm:prSet presAssocID="{EF6C68EB-60C6-4335-961D-3FF209306CDD}" presName="invisiNode" presStyleLbl="node1" presStyleIdx="1" presStyleCnt="4"/>
      <dgm:spPr/>
    </dgm:pt>
    <dgm:pt modelId="{AC20D521-1196-4DF0-822A-D5749DB392C2}" type="pres">
      <dgm:prSet presAssocID="{EF6C68EB-60C6-4335-961D-3FF209306CDD}" presName="imagNode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AF2A1DD1-617C-41FB-92CD-14CBECE3A46B}" type="pres">
      <dgm:prSet presAssocID="{C4668E97-F056-4BC6-83FD-E2CDCAFFF36B}" presName="sibTrans" presStyleLbl="sibTrans2D1" presStyleIdx="0" presStyleCnt="0"/>
      <dgm:spPr/>
    </dgm:pt>
    <dgm:pt modelId="{5778AB4F-C3BF-4AC4-A748-5AFB7F05950B}" type="pres">
      <dgm:prSet presAssocID="{E8D42F98-85D2-4FD0-BAC6-87221E451FC1}" presName="compNode" presStyleCnt="0"/>
      <dgm:spPr/>
    </dgm:pt>
    <dgm:pt modelId="{23E504E1-21DF-4505-A05A-9BEF7545D153}" type="pres">
      <dgm:prSet presAssocID="{E8D42F98-85D2-4FD0-BAC6-87221E451FC1}" presName="bkgdShape" presStyleLbl="node1" presStyleIdx="2" presStyleCnt="4"/>
      <dgm:spPr/>
    </dgm:pt>
    <dgm:pt modelId="{FB6FCA7F-9B1A-4CE2-B088-1CCD3C5C6605}" type="pres">
      <dgm:prSet presAssocID="{E8D42F98-85D2-4FD0-BAC6-87221E451FC1}" presName="nodeTx" presStyleLbl="node1" presStyleIdx="2" presStyleCnt="4">
        <dgm:presLayoutVars>
          <dgm:bulletEnabled val="1"/>
        </dgm:presLayoutVars>
      </dgm:prSet>
      <dgm:spPr/>
    </dgm:pt>
    <dgm:pt modelId="{3806AC3A-7BA2-43F2-85FF-FF0625B1E6A5}" type="pres">
      <dgm:prSet presAssocID="{E8D42F98-85D2-4FD0-BAC6-87221E451FC1}" presName="invisiNode" presStyleLbl="node1" presStyleIdx="2" presStyleCnt="4"/>
      <dgm:spPr/>
    </dgm:pt>
    <dgm:pt modelId="{FF546528-7233-4110-8439-950DCC909D22}" type="pres">
      <dgm:prSet presAssocID="{E8D42F98-85D2-4FD0-BAC6-87221E451FC1}" presName="imagNode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7AD931D3-B492-476D-9F53-BDECA3346F00}" type="pres">
      <dgm:prSet presAssocID="{DF97ED0D-24A8-4808-A7CA-A269F1A553B1}" presName="sibTrans" presStyleLbl="sibTrans2D1" presStyleIdx="0" presStyleCnt="0"/>
      <dgm:spPr/>
    </dgm:pt>
    <dgm:pt modelId="{BE805549-CFA4-4A48-9783-C92FFA86A831}" type="pres">
      <dgm:prSet presAssocID="{E123CFD5-1CD5-4B85-9A62-C2D8469D9C6F}" presName="compNode" presStyleCnt="0"/>
      <dgm:spPr/>
    </dgm:pt>
    <dgm:pt modelId="{1D53C80A-DBE3-4360-A0C8-99628C9BD2C9}" type="pres">
      <dgm:prSet presAssocID="{E123CFD5-1CD5-4B85-9A62-C2D8469D9C6F}" presName="bkgdShape" presStyleLbl="node1" presStyleIdx="3" presStyleCnt="4" custLinFactNeighborX="9890" custLinFactNeighborY="279"/>
      <dgm:spPr/>
    </dgm:pt>
    <dgm:pt modelId="{31D28ED4-238E-49C2-A314-F71F8C8264C1}" type="pres">
      <dgm:prSet presAssocID="{E123CFD5-1CD5-4B85-9A62-C2D8469D9C6F}" presName="nodeTx" presStyleLbl="node1" presStyleIdx="3" presStyleCnt="4">
        <dgm:presLayoutVars>
          <dgm:bulletEnabled val="1"/>
        </dgm:presLayoutVars>
      </dgm:prSet>
      <dgm:spPr/>
    </dgm:pt>
    <dgm:pt modelId="{778C251F-C32E-41FC-8522-835BB578F6C7}" type="pres">
      <dgm:prSet presAssocID="{E123CFD5-1CD5-4B85-9A62-C2D8469D9C6F}" presName="invisiNode" presStyleLbl="node1" presStyleIdx="3" presStyleCnt="4"/>
      <dgm:spPr/>
    </dgm:pt>
    <dgm:pt modelId="{E9385697-F621-4B56-A6DC-EEEDB65D40AE}" type="pres">
      <dgm:prSet presAssocID="{E123CFD5-1CD5-4B85-9A62-C2D8469D9C6F}" presName="imagNode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</dgm:ptLst>
  <dgm:cxnLst>
    <dgm:cxn modelId="{748D8014-F8AC-4BF4-9762-147AE9DA76E2}" type="presOf" srcId="{E8D42F98-85D2-4FD0-BAC6-87221E451FC1}" destId="{FB6FCA7F-9B1A-4CE2-B088-1CCD3C5C6605}" srcOrd="1" destOrd="0" presId="urn:microsoft.com/office/officeart/2005/8/layout/hList7"/>
    <dgm:cxn modelId="{71C02E3D-17E1-4588-80F3-258E57AB95C4}" srcId="{8563BA4A-83A9-4A77-9CF4-E600563D83EE}" destId="{9533AF49-49C3-4328-BB23-4EA42E3A202E}" srcOrd="0" destOrd="0" parTransId="{066FA027-6165-47D9-A47C-4D4B72E81073}" sibTransId="{1591090E-306E-4BC1-B095-F3146362F0D4}"/>
    <dgm:cxn modelId="{32446147-8D00-404B-AA10-9328FF05FF67}" srcId="{8563BA4A-83A9-4A77-9CF4-E600563D83EE}" destId="{E123CFD5-1CD5-4B85-9A62-C2D8469D9C6F}" srcOrd="3" destOrd="0" parTransId="{BE167224-E544-4306-B7FE-3139960D5F3A}" sibTransId="{97B309C8-D9C0-447F-B5B9-336480ABFDD2}"/>
    <dgm:cxn modelId="{58B15476-9C0D-4AA2-BDB4-2A25D5458DF0}" type="presOf" srcId="{E123CFD5-1CD5-4B85-9A62-C2D8469D9C6F}" destId="{31D28ED4-238E-49C2-A314-F71F8C8264C1}" srcOrd="1" destOrd="0" presId="urn:microsoft.com/office/officeart/2005/8/layout/hList7"/>
    <dgm:cxn modelId="{6A8F3578-BDD4-41F8-A0D4-DDB986BB4299}" type="presOf" srcId="{EF6C68EB-60C6-4335-961D-3FF209306CDD}" destId="{44ECA466-9919-463E-8998-7D564F70A2B9}" srcOrd="1" destOrd="0" presId="urn:microsoft.com/office/officeart/2005/8/layout/hList7"/>
    <dgm:cxn modelId="{D6FF497A-7FF7-45FA-A264-97B467C6B506}" type="presOf" srcId="{C4668E97-F056-4BC6-83FD-E2CDCAFFF36B}" destId="{AF2A1DD1-617C-41FB-92CD-14CBECE3A46B}" srcOrd="0" destOrd="0" presId="urn:microsoft.com/office/officeart/2005/8/layout/hList7"/>
    <dgm:cxn modelId="{B7CA8A7D-3EFE-43E2-B1B0-698E8ED3A533}" srcId="{8563BA4A-83A9-4A77-9CF4-E600563D83EE}" destId="{EF6C68EB-60C6-4335-961D-3FF209306CDD}" srcOrd="1" destOrd="0" parTransId="{59697C62-2CEF-429B-A550-D7D37A90AC5B}" sibTransId="{C4668E97-F056-4BC6-83FD-E2CDCAFFF36B}"/>
    <dgm:cxn modelId="{4EF81F8C-E407-47F8-9EF5-52DDFF0866F6}" type="presOf" srcId="{E123CFD5-1CD5-4B85-9A62-C2D8469D9C6F}" destId="{1D53C80A-DBE3-4360-A0C8-99628C9BD2C9}" srcOrd="0" destOrd="0" presId="urn:microsoft.com/office/officeart/2005/8/layout/hList7"/>
    <dgm:cxn modelId="{F54FFC92-0421-4B99-A600-2F8BC0D806FE}" type="presOf" srcId="{DF97ED0D-24A8-4808-A7CA-A269F1A553B1}" destId="{7AD931D3-B492-476D-9F53-BDECA3346F00}" srcOrd="0" destOrd="0" presId="urn:microsoft.com/office/officeart/2005/8/layout/hList7"/>
    <dgm:cxn modelId="{4653D996-E556-4410-B1B8-15CCA9C8B994}" type="presOf" srcId="{EF6C68EB-60C6-4335-961D-3FF209306CDD}" destId="{AF6B45BE-22DC-48EA-9F90-96AF86325093}" srcOrd="0" destOrd="0" presId="urn:microsoft.com/office/officeart/2005/8/layout/hList7"/>
    <dgm:cxn modelId="{D4FC9FAC-6270-4DA0-B56D-650E43312F37}" type="presOf" srcId="{8563BA4A-83A9-4A77-9CF4-E600563D83EE}" destId="{2868B8A3-6240-43C8-8F08-A0A076E29921}" srcOrd="0" destOrd="0" presId="urn:microsoft.com/office/officeart/2005/8/layout/hList7"/>
    <dgm:cxn modelId="{0E475CBE-EF54-4808-B592-38128E6E812C}" type="presOf" srcId="{E8D42F98-85D2-4FD0-BAC6-87221E451FC1}" destId="{23E504E1-21DF-4505-A05A-9BEF7545D153}" srcOrd="0" destOrd="0" presId="urn:microsoft.com/office/officeart/2005/8/layout/hList7"/>
    <dgm:cxn modelId="{4ECB45E8-AE2F-43A8-8432-00C7DAABA5BF}" srcId="{8563BA4A-83A9-4A77-9CF4-E600563D83EE}" destId="{E8D42F98-85D2-4FD0-BAC6-87221E451FC1}" srcOrd="2" destOrd="0" parTransId="{9FDDDE79-E816-4FBB-A787-46DB01A793AC}" sibTransId="{DF97ED0D-24A8-4808-A7CA-A269F1A553B1}"/>
    <dgm:cxn modelId="{E63585F4-AC71-4528-A343-2F7A0486F402}" type="presOf" srcId="{1591090E-306E-4BC1-B095-F3146362F0D4}" destId="{0C80F2F9-B62B-4DC2-9EEE-19B00C045A6A}" srcOrd="0" destOrd="0" presId="urn:microsoft.com/office/officeart/2005/8/layout/hList7"/>
    <dgm:cxn modelId="{327747F8-DE3C-45E2-B33C-56819E0FE9DA}" type="presOf" srcId="{9533AF49-49C3-4328-BB23-4EA42E3A202E}" destId="{A33569C6-0081-44C6-A6F5-317E395599C0}" srcOrd="1" destOrd="0" presId="urn:microsoft.com/office/officeart/2005/8/layout/hList7"/>
    <dgm:cxn modelId="{726D9CFC-AF45-4830-8E39-000368B598E2}" type="presOf" srcId="{9533AF49-49C3-4328-BB23-4EA42E3A202E}" destId="{24DFFAD6-E576-48E6-8F9F-F8FB6A58F073}" srcOrd="0" destOrd="0" presId="urn:microsoft.com/office/officeart/2005/8/layout/hList7"/>
    <dgm:cxn modelId="{A16E431C-5585-465C-A6C3-0683DB7CE590}" type="presParOf" srcId="{2868B8A3-6240-43C8-8F08-A0A076E29921}" destId="{FC4309C4-079E-4A8F-99DA-354BA0713D00}" srcOrd="0" destOrd="0" presId="urn:microsoft.com/office/officeart/2005/8/layout/hList7"/>
    <dgm:cxn modelId="{51705F27-5E8D-44F6-858B-4376CFCBCDE2}" type="presParOf" srcId="{2868B8A3-6240-43C8-8F08-A0A076E29921}" destId="{75B74D5A-F8C3-480D-A631-141D530C8D62}" srcOrd="1" destOrd="0" presId="urn:microsoft.com/office/officeart/2005/8/layout/hList7"/>
    <dgm:cxn modelId="{995DECF8-1F83-4529-8CE0-80F0B0345D5B}" type="presParOf" srcId="{75B74D5A-F8C3-480D-A631-141D530C8D62}" destId="{C7C3A843-2AB4-4796-B640-E7F6A269D847}" srcOrd="0" destOrd="0" presId="urn:microsoft.com/office/officeart/2005/8/layout/hList7"/>
    <dgm:cxn modelId="{6367D09A-FC5C-4603-AE36-4F8924161A59}" type="presParOf" srcId="{C7C3A843-2AB4-4796-B640-E7F6A269D847}" destId="{24DFFAD6-E576-48E6-8F9F-F8FB6A58F073}" srcOrd="0" destOrd="0" presId="urn:microsoft.com/office/officeart/2005/8/layout/hList7"/>
    <dgm:cxn modelId="{E8DBE5D3-7E55-432C-9575-3B770939BE87}" type="presParOf" srcId="{C7C3A843-2AB4-4796-B640-E7F6A269D847}" destId="{A33569C6-0081-44C6-A6F5-317E395599C0}" srcOrd="1" destOrd="0" presId="urn:microsoft.com/office/officeart/2005/8/layout/hList7"/>
    <dgm:cxn modelId="{6CF65A19-C324-406E-AEF6-E3D8AB2FF841}" type="presParOf" srcId="{C7C3A843-2AB4-4796-B640-E7F6A269D847}" destId="{EE1B9F9A-67C6-4EA7-82D5-2633F596D74A}" srcOrd="2" destOrd="0" presId="urn:microsoft.com/office/officeart/2005/8/layout/hList7"/>
    <dgm:cxn modelId="{48A439C7-F129-4B4B-816E-94C9412273D9}" type="presParOf" srcId="{C7C3A843-2AB4-4796-B640-E7F6A269D847}" destId="{57C7A40F-968A-4334-AD61-5FBFB1B92AD9}" srcOrd="3" destOrd="0" presId="urn:microsoft.com/office/officeart/2005/8/layout/hList7"/>
    <dgm:cxn modelId="{E5EABE40-33B8-489B-93AE-2CE4D9EBE79A}" type="presParOf" srcId="{75B74D5A-F8C3-480D-A631-141D530C8D62}" destId="{0C80F2F9-B62B-4DC2-9EEE-19B00C045A6A}" srcOrd="1" destOrd="0" presId="urn:microsoft.com/office/officeart/2005/8/layout/hList7"/>
    <dgm:cxn modelId="{31551136-CA72-4AB5-B14A-CC31E8D0F973}" type="presParOf" srcId="{75B74D5A-F8C3-480D-A631-141D530C8D62}" destId="{F0F23F42-8346-4257-A479-3037914A42E5}" srcOrd="2" destOrd="0" presId="urn:microsoft.com/office/officeart/2005/8/layout/hList7"/>
    <dgm:cxn modelId="{2E581530-78B3-4469-8AEA-C9574D642C11}" type="presParOf" srcId="{F0F23F42-8346-4257-A479-3037914A42E5}" destId="{AF6B45BE-22DC-48EA-9F90-96AF86325093}" srcOrd="0" destOrd="0" presId="urn:microsoft.com/office/officeart/2005/8/layout/hList7"/>
    <dgm:cxn modelId="{3F90D4FC-B97D-48BF-8AB3-1647186EBA89}" type="presParOf" srcId="{F0F23F42-8346-4257-A479-3037914A42E5}" destId="{44ECA466-9919-463E-8998-7D564F70A2B9}" srcOrd="1" destOrd="0" presId="urn:microsoft.com/office/officeart/2005/8/layout/hList7"/>
    <dgm:cxn modelId="{26368850-602F-46BC-9F4B-B6FB5B2B2253}" type="presParOf" srcId="{F0F23F42-8346-4257-A479-3037914A42E5}" destId="{5CC96A45-47AC-4B94-B31C-8B52DB1F3610}" srcOrd="2" destOrd="0" presId="urn:microsoft.com/office/officeart/2005/8/layout/hList7"/>
    <dgm:cxn modelId="{9AF48AF1-A8D9-4E75-A05B-21920B902746}" type="presParOf" srcId="{F0F23F42-8346-4257-A479-3037914A42E5}" destId="{AC20D521-1196-4DF0-822A-D5749DB392C2}" srcOrd="3" destOrd="0" presId="urn:microsoft.com/office/officeart/2005/8/layout/hList7"/>
    <dgm:cxn modelId="{2E14DABF-E46D-4843-ABC6-2A2044CBB27A}" type="presParOf" srcId="{75B74D5A-F8C3-480D-A631-141D530C8D62}" destId="{AF2A1DD1-617C-41FB-92CD-14CBECE3A46B}" srcOrd="3" destOrd="0" presId="urn:microsoft.com/office/officeart/2005/8/layout/hList7"/>
    <dgm:cxn modelId="{BFFB5FAB-3E18-4E73-8C20-6B188104A813}" type="presParOf" srcId="{75B74D5A-F8C3-480D-A631-141D530C8D62}" destId="{5778AB4F-C3BF-4AC4-A748-5AFB7F05950B}" srcOrd="4" destOrd="0" presId="urn:microsoft.com/office/officeart/2005/8/layout/hList7"/>
    <dgm:cxn modelId="{8DE7168B-AC93-4EE8-9E37-3C253BA0263E}" type="presParOf" srcId="{5778AB4F-C3BF-4AC4-A748-5AFB7F05950B}" destId="{23E504E1-21DF-4505-A05A-9BEF7545D153}" srcOrd="0" destOrd="0" presId="urn:microsoft.com/office/officeart/2005/8/layout/hList7"/>
    <dgm:cxn modelId="{FDCF322E-4362-4267-B8E8-6A7C751FD26A}" type="presParOf" srcId="{5778AB4F-C3BF-4AC4-A748-5AFB7F05950B}" destId="{FB6FCA7F-9B1A-4CE2-B088-1CCD3C5C6605}" srcOrd="1" destOrd="0" presId="urn:microsoft.com/office/officeart/2005/8/layout/hList7"/>
    <dgm:cxn modelId="{04FEC6F2-51E5-440D-A0FC-D2946E50967D}" type="presParOf" srcId="{5778AB4F-C3BF-4AC4-A748-5AFB7F05950B}" destId="{3806AC3A-7BA2-43F2-85FF-FF0625B1E6A5}" srcOrd="2" destOrd="0" presId="urn:microsoft.com/office/officeart/2005/8/layout/hList7"/>
    <dgm:cxn modelId="{546E0419-286C-4A77-8180-333923F07F0C}" type="presParOf" srcId="{5778AB4F-C3BF-4AC4-A748-5AFB7F05950B}" destId="{FF546528-7233-4110-8439-950DCC909D22}" srcOrd="3" destOrd="0" presId="urn:microsoft.com/office/officeart/2005/8/layout/hList7"/>
    <dgm:cxn modelId="{6C2E1B0F-469D-4CE2-96FD-5BDD86B29963}" type="presParOf" srcId="{75B74D5A-F8C3-480D-A631-141D530C8D62}" destId="{7AD931D3-B492-476D-9F53-BDECA3346F00}" srcOrd="5" destOrd="0" presId="urn:microsoft.com/office/officeart/2005/8/layout/hList7"/>
    <dgm:cxn modelId="{2E50204D-382A-4433-8A5E-BCC01E168EB8}" type="presParOf" srcId="{75B74D5A-F8C3-480D-A631-141D530C8D62}" destId="{BE805549-CFA4-4A48-9783-C92FFA86A831}" srcOrd="6" destOrd="0" presId="urn:microsoft.com/office/officeart/2005/8/layout/hList7"/>
    <dgm:cxn modelId="{1D51183A-CD05-4AE0-A765-60271FDDDA5E}" type="presParOf" srcId="{BE805549-CFA4-4A48-9783-C92FFA86A831}" destId="{1D53C80A-DBE3-4360-A0C8-99628C9BD2C9}" srcOrd="0" destOrd="0" presId="urn:microsoft.com/office/officeart/2005/8/layout/hList7"/>
    <dgm:cxn modelId="{6459045F-4056-4779-BC7F-9BD83C1DC540}" type="presParOf" srcId="{BE805549-CFA4-4A48-9783-C92FFA86A831}" destId="{31D28ED4-238E-49C2-A314-F71F8C8264C1}" srcOrd="1" destOrd="0" presId="urn:microsoft.com/office/officeart/2005/8/layout/hList7"/>
    <dgm:cxn modelId="{8E6AF096-914C-43AC-B476-DFB05B4B26C7}" type="presParOf" srcId="{BE805549-CFA4-4A48-9783-C92FFA86A831}" destId="{778C251F-C32E-41FC-8522-835BB578F6C7}" srcOrd="2" destOrd="0" presId="urn:microsoft.com/office/officeart/2005/8/layout/hList7"/>
    <dgm:cxn modelId="{BA89D0B3-9EFC-4E06-A079-249A92042ADE}" type="presParOf" srcId="{BE805549-CFA4-4A48-9783-C92FFA86A831}" destId="{E9385697-F621-4B56-A6DC-EEEDB65D40AE}" srcOrd="3" destOrd="0" presId="urn:microsoft.com/office/officeart/2005/8/layout/hList7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1B37-AD03-4023-B341-DD1ED9881266}">
      <dsp:nvSpPr>
        <dsp:cNvPr id="0" name=""/>
        <dsp:cNvSpPr/>
      </dsp:nvSpPr>
      <dsp:spPr>
        <a:xfrm>
          <a:off x="-5853942" y="-755848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2F79F4-7A63-411E-921A-E3AD56E7E38D}">
      <dsp:nvSpPr>
        <dsp:cNvPr id="0" name=""/>
        <dsp:cNvSpPr/>
      </dsp:nvSpPr>
      <dsp:spPr>
        <a:xfrm>
          <a:off x="883544" y="598149"/>
          <a:ext cx="706413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1600" rIns="101600" bIns="10160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000" kern="1200" dirty="0">
              <a:latin typeface="Century Gothic" panose="020B0502020202020204" pitchFamily="34" charset="0"/>
            </a:rPr>
            <a:t>    </a:t>
          </a:r>
          <a:r>
            <a:rPr lang="fr-FR" sz="3600" kern="1200" dirty="0" err="1">
              <a:latin typeface="Century Gothic" panose="020B0502020202020204" pitchFamily="34" charset="0"/>
            </a:rPr>
            <a:t>young</a:t>
          </a:r>
          <a:r>
            <a:rPr lang="fr-FR" sz="3600" kern="1200" dirty="0">
              <a:latin typeface="Century Gothic" panose="020B0502020202020204" pitchFamily="34" charset="0"/>
            </a:rPr>
            <a:t> people</a:t>
          </a:r>
          <a:r>
            <a:rPr lang="fr-FR" sz="4000" kern="1200" dirty="0">
              <a:latin typeface="Century Gothic" panose="020B0502020202020204" pitchFamily="34" charset="0"/>
            </a:rPr>
            <a:t> </a:t>
          </a:r>
          <a:r>
            <a:rPr lang="fr-FR" sz="1600" kern="1200" dirty="0" err="1">
              <a:latin typeface="Century Gothic" panose="020B0502020202020204" pitchFamily="34" charset="0"/>
            </a:rPr>
            <a:t>trained</a:t>
          </a:r>
          <a:r>
            <a:rPr lang="fr-FR" sz="1600" kern="1200" dirty="0">
              <a:latin typeface="Century Gothic" panose="020B0502020202020204" pitchFamily="34" charset="0"/>
            </a:rPr>
            <a:t> and </a:t>
          </a:r>
          <a:r>
            <a:rPr lang="fr-FR" sz="1600" kern="1200" dirty="0" err="1">
              <a:latin typeface="Century Gothic" panose="020B0502020202020204" pitchFamily="34" charset="0"/>
            </a:rPr>
            <a:t>employed</a:t>
          </a:r>
          <a:endParaRPr lang="fr-FR" sz="4000" kern="1200" dirty="0">
            <a:latin typeface="Century Gothic" panose="020B0502020202020204" pitchFamily="34" charset="0"/>
          </a:endParaRPr>
        </a:p>
      </dsp:txBody>
      <dsp:txXfrm>
        <a:off x="883544" y="598149"/>
        <a:ext cx="7064133" cy="833607"/>
      </dsp:txXfrm>
    </dsp:sp>
    <dsp:sp modelId="{166ED245-D7AB-4373-A5C4-8CE7CBC5DA15}">
      <dsp:nvSpPr>
        <dsp:cNvPr id="0" name=""/>
        <dsp:cNvSpPr/>
      </dsp:nvSpPr>
      <dsp:spPr>
        <a:xfrm>
          <a:off x="-196457" y="-65048"/>
          <a:ext cx="2160002" cy="2160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D374C5-02A4-490A-9740-4FEAC26FBEF7}">
      <dsp:nvSpPr>
        <dsp:cNvPr id="0" name=""/>
        <dsp:cNvSpPr/>
      </dsp:nvSpPr>
      <dsp:spPr>
        <a:xfrm>
          <a:off x="1361470" y="1848777"/>
          <a:ext cx="658620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9220" rIns="109220" bIns="109220" numCol="1" spcCol="1270" anchor="ctr" anchorCtr="0">
          <a:noAutofit/>
        </a:bodyPr>
        <a:lstStyle/>
        <a:p>
          <a:pPr marL="0" lvl="0" indent="0" algn="l" defTabSz="1911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300" kern="1200" dirty="0"/>
            <a:t>  </a:t>
          </a:r>
          <a:r>
            <a:rPr lang="fr-FR" sz="3600" kern="1200" dirty="0" err="1">
              <a:latin typeface="Century Gothic" panose="020B0502020202020204" pitchFamily="34" charset="0"/>
            </a:rPr>
            <a:t>children</a:t>
          </a:r>
          <a:r>
            <a:rPr lang="fr-FR" sz="3600" kern="1200" dirty="0">
              <a:latin typeface="Century Gothic" panose="020B0502020202020204" pitchFamily="34" charset="0"/>
            </a:rPr>
            <a:t> </a:t>
          </a:r>
          <a:r>
            <a:rPr lang="fr-FR" sz="1600" kern="1200" dirty="0">
              <a:latin typeface="Century Gothic" panose="020B0502020202020204" pitchFamily="34" charset="0"/>
            </a:rPr>
            <a:t>and teenagers in </a:t>
          </a:r>
          <a:r>
            <a:rPr lang="fr-FR" sz="1600" kern="1200" dirty="0" err="1">
              <a:latin typeface="Century Gothic" panose="020B0502020202020204" pitchFamily="34" charset="0"/>
            </a:rPr>
            <a:t>schools</a:t>
          </a:r>
          <a:endParaRPr lang="fr-FR" sz="4300" kern="1200" dirty="0">
            <a:latin typeface="Century Gothic" panose="020B0502020202020204" pitchFamily="34" charset="0"/>
          </a:endParaRPr>
        </a:p>
      </dsp:txBody>
      <dsp:txXfrm>
        <a:off x="1361470" y="1848777"/>
        <a:ext cx="6586206" cy="833607"/>
      </dsp:txXfrm>
    </dsp:sp>
    <dsp:sp modelId="{CA2CD7BD-3443-45EE-B81C-D91B596C347B}">
      <dsp:nvSpPr>
        <dsp:cNvPr id="0" name=""/>
        <dsp:cNvSpPr/>
      </dsp:nvSpPr>
      <dsp:spPr>
        <a:xfrm>
          <a:off x="541309" y="1521196"/>
          <a:ext cx="1620002" cy="1620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B76533-9C10-49A5-B1A5-AE18C0DE483F}">
      <dsp:nvSpPr>
        <dsp:cNvPr id="0" name=""/>
        <dsp:cNvSpPr/>
      </dsp:nvSpPr>
      <dsp:spPr>
        <a:xfrm>
          <a:off x="1361470" y="3099406"/>
          <a:ext cx="658620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9220" rIns="109220" bIns="109220" numCol="1" spcCol="1270" anchor="ctr" anchorCtr="0">
          <a:noAutofit/>
        </a:bodyPr>
        <a:lstStyle/>
        <a:p>
          <a:pPr marL="0" lvl="0" indent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300" kern="1200" dirty="0"/>
            <a:t> </a:t>
          </a:r>
          <a:r>
            <a:rPr lang="fr-FR" sz="3600" kern="1200" dirty="0" err="1">
              <a:latin typeface="Century Gothic" panose="020B0502020202020204" pitchFamily="34" charset="0"/>
            </a:rPr>
            <a:t>small</a:t>
          </a:r>
          <a:r>
            <a:rPr lang="fr-FR" sz="3600" kern="1200" dirty="0">
              <a:latin typeface="Century Gothic" panose="020B0502020202020204" pitchFamily="34" charset="0"/>
            </a:rPr>
            <a:t> businesses </a:t>
          </a:r>
          <a:r>
            <a:rPr lang="fr-FR" sz="1600" kern="1200" dirty="0" err="1">
              <a:latin typeface="Century Gothic" panose="020B0502020202020204" pitchFamily="34" charset="0"/>
            </a:rPr>
            <a:t>supported</a:t>
          </a:r>
          <a:endParaRPr lang="fr-FR" sz="4300" kern="1200" dirty="0">
            <a:latin typeface="Century Gothic" panose="020B0502020202020204" pitchFamily="34" charset="0"/>
          </a:endParaRPr>
        </a:p>
      </dsp:txBody>
      <dsp:txXfrm>
        <a:off x="1361470" y="3099406"/>
        <a:ext cx="6586206" cy="833607"/>
      </dsp:txXfrm>
    </dsp:sp>
    <dsp:sp modelId="{B271273B-0341-40BA-A81D-8AF3C2A7253F}">
      <dsp:nvSpPr>
        <dsp:cNvPr id="0" name=""/>
        <dsp:cNvSpPr/>
      </dsp:nvSpPr>
      <dsp:spPr>
        <a:xfrm>
          <a:off x="490512" y="2810868"/>
          <a:ext cx="1620002" cy="1620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D02DED-1B78-46CA-B256-ACE76FC1CA58}">
      <dsp:nvSpPr>
        <dsp:cNvPr id="0" name=""/>
        <dsp:cNvSpPr/>
      </dsp:nvSpPr>
      <dsp:spPr>
        <a:xfrm>
          <a:off x="883544" y="4355803"/>
          <a:ext cx="706413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9220" rIns="109220" bIns="109220" numCol="1" spcCol="1270" anchor="ctr" anchorCtr="0">
          <a:noAutofit/>
        </a:bodyPr>
        <a:lstStyle/>
        <a:p>
          <a:pPr marL="0" lvl="0" indent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300" kern="1200" dirty="0"/>
            <a:t> </a:t>
          </a:r>
          <a:r>
            <a:rPr lang="fr-FR" sz="3600" kern="1200" dirty="0" err="1">
              <a:latin typeface="Century Gothic" panose="020B0502020202020204" pitchFamily="34" charset="0"/>
            </a:rPr>
            <a:t>mothers</a:t>
          </a:r>
          <a:r>
            <a:rPr lang="fr-FR" sz="3600" kern="1200" dirty="0">
              <a:latin typeface="Century Gothic" panose="020B0502020202020204" pitchFamily="34" charset="0"/>
            </a:rPr>
            <a:t> and </a:t>
          </a:r>
          <a:r>
            <a:rPr lang="fr-FR" sz="3600" kern="1200" dirty="0" err="1">
              <a:latin typeface="Century Gothic" panose="020B0502020202020204" pitchFamily="34" charset="0"/>
            </a:rPr>
            <a:t>children</a:t>
          </a:r>
          <a:endParaRPr lang="fr-FR" sz="4300" kern="1200" dirty="0">
            <a:latin typeface="Century Gothic" panose="020B0502020202020204" pitchFamily="34" charset="0"/>
          </a:endParaRPr>
        </a:p>
      </dsp:txBody>
      <dsp:txXfrm>
        <a:off x="883544" y="4355803"/>
        <a:ext cx="7064133" cy="833607"/>
      </dsp:txXfrm>
    </dsp:sp>
    <dsp:sp modelId="{BD5C488E-9106-4444-8424-650E773D2FE6}">
      <dsp:nvSpPr>
        <dsp:cNvPr id="0" name=""/>
        <dsp:cNvSpPr/>
      </dsp:nvSpPr>
      <dsp:spPr>
        <a:xfrm>
          <a:off x="253545" y="4136839"/>
          <a:ext cx="1259998" cy="12599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DFFAD6-E576-48E6-8F9F-F8FB6A58F073}">
      <dsp:nvSpPr>
        <dsp:cNvPr id="0" name=""/>
        <dsp:cNvSpPr/>
      </dsp:nvSpPr>
      <dsp:spPr>
        <a:xfrm>
          <a:off x="2514" y="0"/>
          <a:ext cx="2635434" cy="6838951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VOCATIONAL TRAINING AND EMPLOYMENT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900" kern="1200" dirty="0">
            <a:latin typeface="Century Gothic" panose="020B0502020202020204" pitchFamily="34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SEEDS OF HOPE (SOH) </a:t>
          </a:r>
          <a:r>
            <a:rPr lang="fr-FR" sz="1050" b="0" kern="1200" dirty="0">
              <a:latin typeface="Century Gothic" panose="020B0502020202020204" pitchFamily="34" charset="0"/>
            </a:rPr>
            <a:t>Training for </a:t>
          </a:r>
          <a:r>
            <a:rPr lang="fr-FR" sz="1050" b="0" kern="1200" dirty="0" err="1">
              <a:latin typeface="Century Gothic" panose="020B0502020202020204" pitchFamily="34" charset="0"/>
            </a:rPr>
            <a:t>careers</a:t>
          </a:r>
          <a:r>
            <a:rPr lang="fr-FR" sz="1050" b="0" kern="1200" dirty="0">
              <a:latin typeface="Century Gothic" panose="020B0502020202020204" pitchFamily="34" charset="0"/>
            </a:rPr>
            <a:t> in INDUSTRY, ENERGY AND MAINTENANCE.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FAMILY FARM SCHOOLS (FFS)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Training for </a:t>
          </a:r>
          <a:r>
            <a:rPr lang="fr-FR" sz="1200" b="0" kern="1200" dirty="0" err="1">
              <a:latin typeface="Century Gothic" panose="020B0502020202020204" pitchFamily="34" charset="0"/>
            </a:rPr>
            <a:t>careers</a:t>
          </a:r>
          <a:r>
            <a:rPr lang="fr-FR" sz="1200" b="0" kern="1200" dirty="0">
              <a:latin typeface="Century Gothic" panose="020B0502020202020204" pitchFamily="34" charset="0"/>
            </a:rPr>
            <a:t> in HOSPITALITY-CATERING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SPECIFIC TRAINING AND SHORT TRAINING COURSES – </a:t>
          </a:r>
          <a:r>
            <a:rPr lang="fr-FR" sz="1200" b="0" kern="1200" dirty="0" err="1">
              <a:latin typeface="Century Gothic" panose="020B0502020202020204" pitchFamily="34" charset="0"/>
            </a:rPr>
            <a:t>Various</a:t>
          </a:r>
          <a:r>
            <a:rPr lang="fr-FR" sz="1200" b="0" kern="1200" dirty="0">
              <a:latin typeface="Century Gothic" panose="020B0502020202020204" pitchFamily="34" charset="0"/>
            </a:rPr>
            <a:t> </a:t>
          </a:r>
          <a:r>
            <a:rPr lang="fr-FR" sz="1200" b="0" kern="1200" dirty="0" err="1">
              <a:latin typeface="Century Gothic" panose="020B0502020202020204" pitchFamily="34" charset="0"/>
            </a:rPr>
            <a:t>sectors</a:t>
          </a:r>
          <a:endParaRPr lang="fr-FR" sz="1200" b="0" kern="1200" dirty="0">
            <a:latin typeface="Century Gothic" panose="020B0502020202020204" pitchFamily="34" charset="0"/>
          </a:endParaRP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ACCESS TO EMPLOYMENT</a:t>
          </a:r>
          <a:endParaRPr lang="fr-FR" sz="1050" b="0" kern="1200" dirty="0">
            <a:latin typeface="Century Gothic" panose="020B0502020202020204" pitchFamily="34" charset="0"/>
          </a:endParaRPr>
        </a:p>
      </dsp:txBody>
      <dsp:txXfrm>
        <a:off x="2514" y="2735580"/>
        <a:ext cx="2635434" cy="2735580"/>
      </dsp:txXfrm>
    </dsp:sp>
    <dsp:sp modelId="{57C7A40F-968A-4334-AD61-5FBFB1B92AD9}">
      <dsp:nvSpPr>
        <dsp:cNvPr id="0" name=""/>
        <dsp:cNvSpPr/>
      </dsp:nvSpPr>
      <dsp:spPr>
        <a:xfrm>
          <a:off x="181546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6B45BE-22DC-48EA-9F90-96AF86325093}">
      <dsp:nvSpPr>
        <dsp:cNvPr id="0" name=""/>
        <dsp:cNvSpPr/>
      </dsp:nvSpPr>
      <dsp:spPr>
        <a:xfrm>
          <a:off x="2717011" y="0"/>
          <a:ext cx="2635434" cy="6838951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ENTREPRENEURSHIP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1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SUPPORT TO SMALL URBAN ENTERPRISES</a:t>
          </a:r>
        </a:p>
        <a:p>
          <a:pPr marL="0" lvl="0" indent="0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b="0" kern="1200" dirty="0">
            <a:latin typeface="Century Gothic" panose="020B0502020202020204" pitchFamily="34" charset="0"/>
          </a:endParaRPr>
        </a:p>
        <a:p>
          <a:pPr marL="0" lvl="0" indent="0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RURAL ENTREPRENEURSHIP</a:t>
          </a:r>
          <a:endParaRPr lang="fr-FR" sz="800" b="0" kern="1200" dirty="0">
            <a:latin typeface="Century Gothic" panose="020B0502020202020204" pitchFamily="34" charset="0"/>
          </a:endParaRPr>
        </a:p>
      </dsp:txBody>
      <dsp:txXfrm>
        <a:off x="2717011" y="2735580"/>
        <a:ext cx="2635434" cy="2735580"/>
      </dsp:txXfrm>
    </dsp:sp>
    <dsp:sp modelId="{AC20D521-1196-4DF0-822A-D5749DB392C2}">
      <dsp:nvSpPr>
        <dsp:cNvPr id="0" name=""/>
        <dsp:cNvSpPr/>
      </dsp:nvSpPr>
      <dsp:spPr>
        <a:xfrm>
          <a:off x="2896043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E504E1-21DF-4505-A05A-9BEF7545D153}">
      <dsp:nvSpPr>
        <dsp:cNvPr id="0" name=""/>
        <dsp:cNvSpPr/>
      </dsp:nvSpPr>
      <dsp:spPr>
        <a:xfrm>
          <a:off x="5431509" y="0"/>
          <a:ext cx="2635434" cy="6838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EDUCATION</a:t>
          </a:r>
          <a:endParaRPr lang="fr-FR" sz="1600" b="1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1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EDUCATION AND REMEDIATION STRENGTHENING (CERES-SESAME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b="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ACTIONS FOR REFUGEES and FOR PEOPLE WITH DISABILITIES</a:t>
          </a:r>
        </a:p>
      </dsp:txBody>
      <dsp:txXfrm>
        <a:off x="5431509" y="2735580"/>
        <a:ext cx="2635434" cy="2735580"/>
      </dsp:txXfrm>
    </dsp:sp>
    <dsp:sp modelId="{FF546528-7233-4110-8439-950DCC909D22}">
      <dsp:nvSpPr>
        <dsp:cNvPr id="0" name=""/>
        <dsp:cNvSpPr/>
      </dsp:nvSpPr>
      <dsp:spPr>
        <a:xfrm>
          <a:off x="5610540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53C80A-DBE3-4360-A0C8-99628C9BD2C9}">
      <dsp:nvSpPr>
        <dsp:cNvPr id="0" name=""/>
        <dsp:cNvSpPr/>
      </dsp:nvSpPr>
      <dsp:spPr>
        <a:xfrm>
          <a:off x="8148520" y="0"/>
          <a:ext cx="2635434" cy="6838951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HEALTHCARE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SUPPORT TO HEALTHCARE STRUCTURE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b="0" kern="1200" dirty="0">
            <a:latin typeface="Century Gothic" panose="020B0502020202020204" pitchFamily="34" charset="0"/>
          </a:endParaRPr>
        </a:p>
        <a:p>
          <a:pPr marL="0" lvl="0" indent="0" algn="l" defTabSz="711200"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IMPROVEMENT OF HEALTHCARE FOR PEOPLE SUFFERING OF SICKLE-CELL DISEASE</a:t>
          </a:r>
        </a:p>
      </dsp:txBody>
      <dsp:txXfrm>
        <a:off x="8148520" y="2735580"/>
        <a:ext cx="2635434" cy="2735580"/>
      </dsp:txXfrm>
    </dsp:sp>
    <dsp:sp modelId="{E9385697-F621-4B56-A6DC-EEEDB65D40AE}">
      <dsp:nvSpPr>
        <dsp:cNvPr id="0" name=""/>
        <dsp:cNvSpPr/>
      </dsp:nvSpPr>
      <dsp:spPr>
        <a:xfrm>
          <a:off x="8325038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4309C4-079E-4A8F-99DA-354BA0713D00}">
      <dsp:nvSpPr>
        <dsp:cNvPr id="0" name=""/>
        <dsp:cNvSpPr/>
      </dsp:nvSpPr>
      <dsp:spPr>
        <a:xfrm>
          <a:off x="319645" y="6663634"/>
          <a:ext cx="9921238" cy="175316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3766A6-E785-4A22-A063-72116E931701}" type="datetimeFigureOut">
              <a:rPr lang="fr-FR" smtClean="0"/>
              <a:t>16/10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/>
              <a:t>date - type de documen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5EC2A-2276-4770-B4D7-29CCB109FC4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557966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3B3177-EDF3-485C-9821-9DE9BE00FD17}" type="datetimeFigureOut">
              <a:rPr lang="fr-FR" smtClean="0"/>
              <a:t>16/10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/>
              <a:t>date - type de document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B21648-4161-4D6E-B90F-33A6A580D91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409422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F076D6-3648-4210-B1CE-4A1F6F61F91F}" type="slidenum">
              <a:rPr lang="fr-FR" altLang="fr-FR" smtClean="0"/>
              <a:pPr/>
              <a:t>7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83485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/>
          </a:p>
        </p:txBody>
      </p:sp>
      <p:sp>
        <p:nvSpPr>
          <p:cNvPr id="41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8E5381F-3401-4D2E-848E-1557235EBA30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3550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/>
          </a:p>
        </p:txBody>
      </p:sp>
      <p:sp>
        <p:nvSpPr>
          <p:cNvPr id="41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8E5381F-3401-4D2E-848E-1557235EBA30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7998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/>
          </a:p>
        </p:txBody>
      </p:sp>
      <p:sp>
        <p:nvSpPr>
          <p:cNvPr id="41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8E5381F-3401-4D2E-848E-1557235EBA30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093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28188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769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37066" y="1759612"/>
            <a:ext cx="5579534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23000" y="1756437"/>
            <a:ext cx="5791199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3270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844" y="187854"/>
            <a:ext cx="11796712" cy="103134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73844" y="1681163"/>
            <a:ext cx="572373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73844" y="2505075"/>
            <a:ext cx="5723731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89835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898356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9877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9033" y="254000"/>
            <a:ext cx="4787900" cy="11795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69466" y="254001"/>
            <a:ext cx="6468533" cy="56070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09033" y="1518442"/>
            <a:ext cx="4787900" cy="434260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0213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9033" y="187325"/>
            <a:ext cx="4462992" cy="12461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7" y="187325"/>
            <a:ext cx="6831013" cy="5673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09033" y="1600200"/>
            <a:ext cx="4462992" cy="42608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7394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8607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9787466" y="212725"/>
            <a:ext cx="2099733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09032" y="212725"/>
            <a:ext cx="9080501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8776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1022C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Tx/>
              <a:buBlip>
                <a:blip r:embed="rId2"/>
              </a:buBlip>
              <a:defRPr/>
            </a:lvl1pPr>
            <a:lvl2pPr marL="685800" indent="-228600">
              <a:buFont typeface="Wingdings" panose="05000000000000000000" pitchFamily="2" charset="2"/>
              <a:buChar char="Ø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ü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3031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37066" y="71173"/>
            <a:ext cx="1177713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37067" y="1605492"/>
            <a:ext cx="1177713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0" y="6473826"/>
            <a:ext cx="6180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C231CE-B438-49A1-9EC3-0F944DE7389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56" b="38854"/>
          <a:stretch/>
        </p:blipFill>
        <p:spPr>
          <a:xfrm>
            <a:off x="11410949" y="6667501"/>
            <a:ext cx="749019" cy="17145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0"/>
          <a:stretch/>
        </p:blipFill>
        <p:spPr>
          <a:xfrm>
            <a:off x="11119513" y="6248400"/>
            <a:ext cx="620970" cy="46579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 rot="5400000">
            <a:off x="-3383389" y="3350786"/>
            <a:ext cx="6858000" cy="156428"/>
          </a:xfrm>
          <a:prstGeom prst="rect">
            <a:avLst/>
          </a:prstGeom>
          <a:solidFill>
            <a:srgbClr val="C1022C"/>
          </a:solidFill>
          <a:ln>
            <a:solidFill>
              <a:srgbClr val="C102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9659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5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C1022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3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2.png"/><Relationship Id="rId7" Type="http://schemas.openxmlformats.org/officeDocument/2006/relationships/image" Target="../media/image53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Relationship Id="rId9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image" Target="../media/image54.pn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png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ecd.org/" TargetMode="External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5.jpeg"/><Relationship Id="rId7" Type="http://schemas.openxmlformats.org/officeDocument/2006/relationships/diagramLayout" Target="../diagrams/layout1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9.xml"/><Relationship Id="rId6" Type="http://schemas.openxmlformats.org/officeDocument/2006/relationships/diagramData" Target="../diagrams/data1.xml"/><Relationship Id="rId11" Type="http://schemas.openxmlformats.org/officeDocument/2006/relationships/image" Target="../media/image7.png"/><Relationship Id="rId5" Type="http://schemas.openxmlformats.org/officeDocument/2006/relationships/image" Target="../media/image17.jpg"/><Relationship Id="rId10" Type="http://schemas.microsoft.com/office/2007/relationships/diagramDrawing" Target="../diagrams/drawing1.xml"/><Relationship Id="rId4" Type="http://schemas.openxmlformats.org/officeDocument/2006/relationships/image" Target="../media/image16.jpeg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image" Target="../media/image26.png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image" Target="../media/image22.png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tags" Target="../tags/tag87.xml"/><Relationship Id="rId102" Type="http://schemas.openxmlformats.org/officeDocument/2006/relationships/tags" Target="../tags/tag102.xml"/><Relationship Id="rId110" Type="http://schemas.openxmlformats.org/officeDocument/2006/relationships/slideLayout" Target="../slideLayouts/slideLayout9.xml"/><Relationship Id="rId115" Type="http://schemas.openxmlformats.org/officeDocument/2006/relationships/image" Target="../media/image25.pn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image" Target="../media/image23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image" Target="../media/image7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notesSlide" Target="../notesSlides/notesSlide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image" Target="../media/image24.pn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10" Type="http://schemas.openxmlformats.org/officeDocument/2006/relationships/image" Target="../media/image7.pn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13" Type="http://schemas.openxmlformats.org/officeDocument/2006/relationships/image" Target="../media/image44.png"/><Relationship Id="rId3" Type="http://schemas.openxmlformats.org/officeDocument/2006/relationships/image" Target="../media/image34.jpeg"/><Relationship Id="rId7" Type="http://schemas.openxmlformats.org/officeDocument/2006/relationships/image" Target="../media/image38.jpg"/><Relationship Id="rId12" Type="http://schemas.openxmlformats.org/officeDocument/2006/relationships/image" Target="../media/image43.jpeg"/><Relationship Id="rId17" Type="http://schemas.openxmlformats.org/officeDocument/2006/relationships/image" Target="../media/image7.png"/><Relationship Id="rId2" Type="http://schemas.openxmlformats.org/officeDocument/2006/relationships/image" Target="../media/image33.png"/><Relationship Id="rId16" Type="http://schemas.openxmlformats.org/officeDocument/2006/relationships/chart" Target="../charts/chart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jpeg"/><Relationship Id="rId11" Type="http://schemas.openxmlformats.org/officeDocument/2006/relationships/image" Target="../media/image42.png"/><Relationship Id="rId5" Type="http://schemas.openxmlformats.org/officeDocument/2006/relationships/image" Target="../media/image36.jpe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4" Type="http://schemas.openxmlformats.org/officeDocument/2006/relationships/image" Target="../media/image35.jpe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93" y="-723051"/>
            <a:ext cx="12065507" cy="8135900"/>
          </a:xfrm>
          <a:prstGeom prst="rect">
            <a:avLst/>
          </a:prstGeo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26493" y="5468127"/>
            <a:ext cx="12047035" cy="138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4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Who</a:t>
            </a:r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are </a:t>
            </a:r>
            <a:r>
              <a:rPr lang="fr-FR" sz="4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we</a:t>
            </a:r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? 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Entrepreneurs in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human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and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economic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development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training </a:t>
            </a:r>
          </a:p>
          <a:p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the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responsible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stakeholders of the future</a:t>
            </a:r>
            <a:endParaRPr lang="fr-FR" sz="4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999" y="4156150"/>
            <a:ext cx="1994722" cy="1009614"/>
          </a:xfrm>
          <a:prstGeom prst="rect">
            <a:avLst/>
          </a:prstGeom>
        </p:spPr>
      </p:pic>
      <p:grpSp>
        <p:nvGrpSpPr>
          <p:cNvPr id="6" name="Groupe 5"/>
          <p:cNvGrpSpPr/>
          <p:nvPr/>
        </p:nvGrpSpPr>
        <p:grpSpPr>
          <a:xfrm>
            <a:off x="5141592" y="1495794"/>
            <a:ext cx="6562783" cy="2660356"/>
            <a:chOff x="5293992" y="1559624"/>
            <a:chExt cx="6562783" cy="2660356"/>
          </a:xfrm>
        </p:grpSpPr>
        <p:sp>
          <p:nvSpPr>
            <p:cNvPr id="9" name="ZoneTexte 8"/>
            <p:cNvSpPr txBox="1"/>
            <p:nvPr/>
          </p:nvSpPr>
          <p:spPr>
            <a:xfrm>
              <a:off x="5661086" y="1881311"/>
              <a:ext cx="5970837" cy="2123658"/>
            </a:xfrm>
            <a:prstGeom prst="rect">
              <a:avLst/>
            </a:prstGeom>
            <a:solidFill>
              <a:schemeClr val="tx1">
                <a:lumMod val="50000"/>
                <a:alpha val="38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4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INSTITUT EUROPÉEN DE COOPÉRATION ET DE DÉVELOPPEMENT</a:t>
              </a:r>
            </a:p>
          </p:txBody>
        </p:sp>
        <p:sp>
          <p:nvSpPr>
            <p:cNvPr id="10" name="Forme en L 9"/>
            <p:cNvSpPr>
              <a:spLocks/>
            </p:cNvSpPr>
            <p:nvPr/>
          </p:nvSpPr>
          <p:spPr>
            <a:xfrm rot="5400000">
              <a:off x="5242722" y="1610894"/>
              <a:ext cx="836728" cy="734187"/>
            </a:xfrm>
            <a:prstGeom prst="corner">
              <a:avLst>
                <a:gd name="adj1" fmla="val 22461"/>
                <a:gd name="adj2" fmla="val 2171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2"/>
                </a:solidFill>
              </a:endParaRPr>
            </a:p>
          </p:txBody>
        </p:sp>
        <p:sp>
          <p:nvSpPr>
            <p:cNvPr id="11" name="Forme en L 10"/>
            <p:cNvSpPr>
              <a:spLocks/>
            </p:cNvSpPr>
            <p:nvPr/>
          </p:nvSpPr>
          <p:spPr>
            <a:xfrm rot="5400000" flipH="1" flipV="1">
              <a:off x="11436813" y="3800018"/>
              <a:ext cx="390220" cy="449704"/>
            </a:xfrm>
            <a:prstGeom prst="corner">
              <a:avLst>
                <a:gd name="adj1" fmla="val 16844"/>
                <a:gd name="adj2" fmla="val 1783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308191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22" b="9401"/>
          <a:stretch/>
        </p:blipFill>
        <p:spPr>
          <a:xfrm>
            <a:off x="126493" y="0"/>
            <a:ext cx="12065507" cy="6857999"/>
          </a:xfrm>
          <a:prstGeom prst="rect">
            <a:avLst/>
          </a:prstGeo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0</a:t>
            </a:fld>
            <a:endParaRPr lang="fr-FR"/>
          </a:p>
        </p:txBody>
      </p:sp>
      <p:grpSp>
        <p:nvGrpSpPr>
          <p:cNvPr id="12" name="Groupe 11"/>
          <p:cNvGrpSpPr/>
          <p:nvPr/>
        </p:nvGrpSpPr>
        <p:grpSpPr>
          <a:xfrm>
            <a:off x="6042747" y="3842014"/>
            <a:ext cx="5613775" cy="2631812"/>
            <a:chOff x="6159245" y="3262610"/>
            <a:chExt cx="5613775" cy="2631812"/>
          </a:xfrm>
        </p:grpSpPr>
        <p:sp>
          <p:nvSpPr>
            <p:cNvPr id="8" name="ZoneTexte 7"/>
            <p:cNvSpPr txBox="1"/>
            <p:nvPr/>
          </p:nvSpPr>
          <p:spPr>
            <a:xfrm>
              <a:off x="6434113" y="3575775"/>
              <a:ext cx="5114055" cy="769441"/>
            </a:xfrm>
            <a:prstGeom prst="rect">
              <a:avLst/>
            </a:prstGeom>
            <a:solidFill>
              <a:schemeClr val="tx1">
                <a:lumMod val="50000"/>
                <a:alpha val="38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4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4 CORE ACTIONS</a:t>
              </a:r>
            </a:p>
          </p:txBody>
        </p:sp>
        <p:sp>
          <p:nvSpPr>
            <p:cNvPr id="9" name="Forme en L 8"/>
            <p:cNvSpPr>
              <a:spLocks/>
            </p:cNvSpPr>
            <p:nvPr/>
          </p:nvSpPr>
          <p:spPr>
            <a:xfrm rot="5400000">
              <a:off x="6107975" y="3313880"/>
              <a:ext cx="836728" cy="734187"/>
            </a:xfrm>
            <a:prstGeom prst="corner">
              <a:avLst>
                <a:gd name="adj1" fmla="val 22461"/>
                <a:gd name="adj2" fmla="val 2171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2"/>
                </a:solidFill>
              </a:endParaRPr>
            </a:p>
          </p:txBody>
        </p:sp>
        <p:sp>
          <p:nvSpPr>
            <p:cNvPr id="10" name="Forme en L 9"/>
            <p:cNvSpPr>
              <a:spLocks/>
            </p:cNvSpPr>
            <p:nvPr/>
          </p:nvSpPr>
          <p:spPr>
            <a:xfrm rot="5400000" flipH="1" flipV="1">
              <a:off x="11353058" y="5474460"/>
              <a:ext cx="390220" cy="449704"/>
            </a:xfrm>
            <a:prstGeom prst="corner">
              <a:avLst>
                <a:gd name="adj1" fmla="val 16844"/>
                <a:gd name="adj2" fmla="val 1783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085" y="5913783"/>
            <a:ext cx="1467185" cy="7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02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9275" y="1057915"/>
            <a:ext cx="1177193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40" b="19986"/>
          <a:stretch/>
        </p:blipFill>
        <p:spPr>
          <a:xfrm>
            <a:off x="5008958" y="1796579"/>
            <a:ext cx="2334495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26875" y="-35661"/>
            <a:ext cx="7618952" cy="1152532"/>
          </a:xfrm>
        </p:spPr>
        <p:txBody>
          <a:bodyPr>
            <a:normAutofit fontScale="90000"/>
          </a:bodyPr>
          <a:lstStyle/>
          <a:p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/4 – VOCATIONAL TRAINING AND EMPLOYMENT</a:t>
            </a:r>
            <a:br>
              <a:rPr lang="fr-FR" sz="2800" dirty="0">
                <a:solidFill>
                  <a:srgbClr val="FFC000"/>
                </a:solidFill>
                <a:latin typeface="Century Gothic" panose="020B0502020202020204" pitchFamily="34" charset="0"/>
              </a:rPr>
            </a:br>
            <a:r>
              <a:rPr lang="fr-FR" sz="2200" dirty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To </a:t>
            </a:r>
            <a:r>
              <a:rPr lang="fr-FR" sz="2200" dirty="0" err="1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promote</a:t>
            </a:r>
            <a:r>
              <a:rPr lang="fr-FR" sz="2200" dirty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200" dirty="0" err="1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sustainable</a:t>
            </a:r>
            <a:r>
              <a:rPr lang="fr-FR" sz="2200" dirty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200" dirty="0" err="1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mployment</a:t>
            </a:r>
            <a:r>
              <a:rPr lang="fr-FR" sz="2200" dirty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for </a:t>
            </a:r>
            <a:r>
              <a:rPr lang="fr-FR" sz="2200" dirty="0" err="1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young</a:t>
            </a:r>
            <a:r>
              <a:rPr lang="fr-FR" sz="2200" dirty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peopl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1</a:t>
            </a:fld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175518" y="1294517"/>
            <a:ext cx="2453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CAREERS IN AGRICULTURE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629746" y="1176165"/>
            <a:ext cx="23846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CAREERS IN HOSPITALITY-CATERING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5037077" y="1057915"/>
            <a:ext cx="23327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CAREERS INDUSTRY, ENERGY and MAINTENANCE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7335848" y="1156326"/>
            <a:ext cx="23516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HORT TRAINING COURSES</a:t>
            </a: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98722" y="3889379"/>
            <a:ext cx="2322341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8 </a:t>
            </a:r>
            <a:r>
              <a:rPr lang="fr-FR" sz="1200" dirty="0">
                <a:latin typeface="Century Gothic" panose="020B0502020202020204" pitchFamily="34" charset="0"/>
              </a:rPr>
              <a:t>Family </a:t>
            </a:r>
            <a:r>
              <a:rPr lang="fr-FR" sz="1200" dirty="0" err="1">
                <a:latin typeface="Century Gothic" panose="020B0502020202020204" pitchFamily="34" charset="0"/>
              </a:rPr>
              <a:t>Farm</a:t>
            </a:r>
            <a:r>
              <a:rPr lang="fr-FR" sz="1200" dirty="0">
                <a:latin typeface="Century Gothic" panose="020B0502020202020204" pitchFamily="34" charset="0"/>
              </a:rPr>
              <a:t> </a:t>
            </a:r>
            <a:r>
              <a:rPr lang="fr-FR" sz="1200" dirty="0" err="1">
                <a:latin typeface="Century Gothic" panose="020B0502020202020204" pitchFamily="34" charset="0"/>
              </a:rPr>
              <a:t>Schools</a:t>
            </a:r>
            <a:endParaRPr lang="fr-FR" sz="12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Training Institutes for Rural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ntrepreneurship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. </a:t>
            </a: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2626858" y="3854578"/>
            <a:ext cx="236323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2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Hospitality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-Catering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s</a:t>
            </a:r>
            <a:endParaRPr lang="fr-FR" sz="12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Bread-Pastry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making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s</a:t>
            </a:r>
            <a:endParaRPr lang="fr-FR" sz="12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SSET-H&amp;C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egional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platform</a:t>
            </a: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4993493" y="3865107"/>
            <a:ext cx="232615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27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partner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s</a:t>
            </a:r>
            <a:endParaRPr lang="fr-FR" sz="12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70774" y="5439639"/>
            <a:ext cx="2312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Nearly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1,2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young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people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rained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in 2016</a:t>
            </a:r>
          </a:p>
        </p:txBody>
      </p:sp>
      <p:sp>
        <p:nvSpPr>
          <p:cNvPr id="6" name="Rectangle 5"/>
          <p:cNvSpPr/>
          <p:nvPr/>
        </p:nvSpPr>
        <p:spPr>
          <a:xfrm>
            <a:off x="2676848" y="5432834"/>
            <a:ext cx="235781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More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han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500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young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people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rained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in 2016</a:t>
            </a:r>
            <a:endParaRPr lang="fr-FR" sz="1400" dirty="0">
              <a:latin typeface="Century Gothic" panose="020B0502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089422" y="5424648"/>
            <a:ext cx="22947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Nearly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4,0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young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people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rained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in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016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136177" y="3081775"/>
            <a:ext cx="24848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rain rural entrepreneurs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of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tomorow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2613986" y="2951496"/>
            <a:ext cx="23524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rain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disadvantag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young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people to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booming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areers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4967981" y="2946332"/>
            <a:ext cx="23666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Gain lasting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employment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in the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ountry’s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dynamic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industry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ector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7326889" y="2948865"/>
            <a:ext cx="2346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Meet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the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needs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of population in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great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difficulty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376252" y="5440030"/>
            <a:ext cx="23904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Nearly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,500 </a:t>
            </a:r>
            <a:r>
              <a:rPr lang="fr-FR" sz="1400" dirty="0" err="1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beneficiaries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in 2016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Rectangle 6"/>
          <p:cNvSpPr>
            <a:spLocks noChangeArrowheads="1"/>
          </p:cNvSpPr>
          <p:nvPr/>
        </p:nvSpPr>
        <p:spPr bwMode="auto">
          <a:xfrm>
            <a:off x="7343453" y="3857351"/>
            <a:ext cx="236361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lectricity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,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welding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, computer maintenance,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ecretary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, manicure-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pedicure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. </a:t>
            </a:r>
          </a:p>
        </p:txBody>
      </p:sp>
      <p:cxnSp>
        <p:nvCxnSpPr>
          <p:cNvPr id="40" name="Connecteur droit 39"/>
          <p:cNvCxnSpPr/>
          <p:nvPr/>
        </p:nvCxnSpPr>
        <p:spPr>
          <a:xfrm>
            <a:off x="2613986" y="1195106"/>
            <a:ext cx="0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/>
        </p:nvCxnSpPr>
        <p:spPr>
          <a:xfrm>
            <a:off x="5011540" y="1158935"/>
            <a:ext cx="1712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necteur droit 42"/>
          <p:cNvCxnSpPr/>
          <p:nvPr/>
        </p:nvCxnSpPr>
        <p:spPr>
          <a:xfrm>
            <a:off x="7338510" y="1224699"/>
            <a:ext cx="1712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4" name="Image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74" y="110583"/>
            <a:ext cx="879186" cy="87918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65" b="19767"/>
          <a:stretch/>
        </p:blipFill>
        <p:spPr>
          <a:xfrm>
            <a:off x="9706438" y="1786769"/>
            <a:ext cx="2322000" cy="1080000"/>
          </a:xfrm>
          <a:prstGeom prst="rect">
            <a:avLst/>
          </a:prstGeom>
        </p:spPr>
      </p:pic>
      <p:cxnSp>
        <p:nvCxnSpPr>
          <p:cNvPr id="45" name="Connecteur droit 44"/>
          <p:cNvCxnSpPr/>
          <p:nvPr/>
        </p:nvCxnSpPr>
        <p:spPr>
          <a:xfrm>
            <a:off x="9711138" y="1195106"/>
            <a:ext cx="1712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ZoneTexte 45"/>
          <p:cNvSpPr txBox="1"/>
          <p:nvPr/>
        </p:nvSpPr>
        <p:spPr>
          <a:xfrm>
            <a:off x="9704087" y="1282342"/>
            <a:ext cx="23516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CCES 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O EMPLOYMENT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ZoneTexte 46"/>
          <p:cNvSpPr txBox="1"/>
          <p:nvPr/>
        </p:nvSpPr>
        <p:spPr>
          <a:xfrm>
            <a:off x="9707070" y="2949416"/>
            <a:ext cx="2346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Promoting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ccess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to guidance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employment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training</a:t>
            </a:r>
          </a:p>
        </p:txBody>
      </p:sp>
      <p:cxnSp>
        <p:nvCxnSpPr>
          <p:cNvPr id="48" name="Connecteur droit 47"/>
          <p:cNvCxnSpPr/>
          <p:nvPr/>
        </p:nvCxnSpPr>
        <p:spPr>
          <a:xfrm flipH="1">
            <a:off x="372549" y="377470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eur droit 48"/>
          <p:cNvCxnSpPr/>
          <p:nvPr/>
        </p:nvCxnSpPr>
        <p:spPr>
          <a:xfrm flipH="1">
            <a:off x="372549" y="5302616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Rectangle 6"/>
          <p:cNvSpPr>
            <a:spLocks noChangeArrowheads="1"/>
          </p:cNvSpPr>
          <p:nvPr/>
        </p:nvSpPr>
        <p:spPr bwMode="auto">
          <a:xfrm>
            <a:off x="9669773" y="3848907"/>
            <a:ext cx="238395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Professional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integration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: 19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areer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Guidance Offices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production workshops for people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with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isabilities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or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learning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2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isorders</a:t>
            </a:r>
            <a:endParaRPr lang="fr-FR" sz="12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pic>
        <p:nvPicPr>
          <p:cNvPr id="31" name="Image 3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1818"/>
          <a:stretch/>
        </p:blipFill>
        <p:spPr>
          <a:xfrm>
            <a:off x="7333619" y="1795254"/>
            <a:ext cx="2376000" cy="1083858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" t="-39" r="757" b="30754"/>
          <a:stretch/>
        </p:blipFill>
        <p:spPr>
          <a:xfrm>
            <a:off x="252480" y="1786493"/>
            <a:ext cx="2376049" cy="1080000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39" b="27732"/>
          <a:stretch/>
        </p:blipFill>
        <p:spPr>
          <a:xfrm>
            <a:off x="2613986" y="1789788"/>
            <a:ext cx="2407931" cy="1080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Rectangle 50"/>
          <p:cNvSpPr/>
          <p:nvPr/>
        </p:nvSpPr>
        <p:spPr>
          <a:xfrm>
            <a:off x="9773712" y="5439639"/>
            <a:ext cx="23904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More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han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3,300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young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beneficiaries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in 2016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8" name="Parallélogramme 57"/>
          <p:cNvSpPr/>
          <p:nvPr/>
        </p:nvSpPr>
        <p:spPr>
          <a:xfrm>
            <a:off x="8701089" y="-13361"/>
            <a:ext cx="1442522" cy="89535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4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59" name="Parallélogramme 58"/>
          <p:cNvSpPr/>
          <p:nvPr/>
        </p:nvSpPr>
        <p:spPr>
          <a:xfrm>
            <a:off x="9977439" y="-15294"/>
            <a:ext cx="1237735" cy="89535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3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CTS</a:t>
            </a:r>
          </a:p>
        </p:txBody>
      </p:sp>
      <p:sp>
        <p:nvSpPr>
          <p:cNvPr id="60" name="Parallélogramme 59"/>
          <p:cNvSpPr/>
          <p:nvPr/>
        </p:nvSpPr>
        <p:spPr>
          <a:xfrm>
            <a:off x="11049001" y="-12484"/>
            <a:ext cx="1282956" cy="89535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2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COUNTRIES</a:t>
            </a:r>
          </a:p>
        </p:txBody>
      </p:sp>
      <p:pic>
        <p:nvPicPr>
          <p:cNvPr id="62" name="Image 6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  <p:cxnSp>
        <p:nvCxnSpPr>
          <p:cNvPr id="63" name="Connecteur droit 62"/>
          <p:cNvCxnSpPr/>
          <p:nvPr/>
        </p:nvCxnSpPr>
        <p:spPr>
          <a:xfrm flipH="1">
            <a:off x="372549" y="605509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5" name="Image 64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11" y="6187934"/>
            <a:ext cx="658275" cy="402740"/>
          </a:xfrm>
          <a:prstGeom prst="rect">
            <a:avLst/>
          </a:prstGeom>
        </p:spPr>
      </p:pic>
      <p:sp>
        <p:nvSpPr>
          <p:cNvPr id="66" name="ZoneTexte 26"/>
          <p:cNvSpPr txBox="1">
            <a:spLocks noChangeArrowheads="1"/>
          </p:cNvSpPr>
          <p:nvPr/>
        </p:nvSpPr>
        <p:spPr bwMode="auto">
          <a:xfrm>
            <a:off x="685277" y="6191397"/>
            <a:ext cx="173668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Cameroon</a:t>
            </a: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, Ivory </a:t>
            </a:r>
            <a:r>
              <a:rPr lang="fr-FR" sz="11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Coast</a:t>
            </a: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, DRC</a:t>
            </a:r>
          </a:p>
        </p:txBody>
      </p:sp>
      <p:pic>
        <p:nvPicPr>
          <p:cNvPr id="68" name="Image 67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819" y="6205471"/>
            <a:ext cx="659830" cy="402740"/>
          </a:xfrm>
          <a:prstGeom prst="rect">
            <a:avLst/>
          </a:prstGeom>
        </p:spPr>
      </p:pic>
      <p:sp>
        <p:nvSpPr>
          <p:cNvPr id="69" name="ZoneTexte 26"/>
          <p:cNvSpPr txBox="1">
            <a:spLocks noChangeArrowheads="1"/>
          </p:cNvSpPr>
          <p:nvPr/>
        </p:nvSpPr>
        <p:spPr bwMode="auto">
          <a:xfrm>
            <a:off x="3052715" y="6205471"/>
            <a:ext cx="189328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Thailand</a:t>
            </a: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, Vietnam, Myanmar, Madagascar</a:t>
            </a:r>
          </a:p>
        </p:txBody>
      </p:sp>
      <p:pic>
        <p:nvPicPr>
          <p:cNvPr id="70" name="Image 69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462" y="6202008"/>
            <a:ext cx="658275" cy="402740"/>
          </a:xfrm>
          <a:prstGeom prst="rect">
            <a:avLst/>
          </a:prstGeom>
        </p:spPr>
      </p:pic>
      <p:sp>
        <p:nvSpPr>
          <p:cNvPr id="71" name="ZoneTexte 26"/>
          <p:cNvSpPr txBox="1">
            <a:spLocks noChangeArrowheads="1"/>
          </p:cNvSpPr>
          <p:nvPr/>
        </p:nvSpPr>
        <p:spPr bwMode="auto">
          <a:xfrm>
            <a:off x="5458401" y="6138641"/>
            <a:ext cx="1736684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Lebanon, Nigeria, </a:t>
            </a:r>
            <a:r>
              <a:rPr lang="fr-FR" sz="11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Egypt</a:t>
            </a: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, Morocco, Ivory </a:t>
            </a:r>
            <a:r>
              <a:rPr lang="fr-FR" sz="11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Coast</a:t>
            </a: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, Vietnam</a:t>
            </a:r>
          </a:p>
        </p:txBody>
      </p:sp>
      <p:pic>
        <p:nvPicPr>
          <p:cNvPr id="72" name="Image 71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868" y="6206816"/>
            <a:ext cx="658275" cy="402740"/>
          </a:xfrm>
          <a:prstGeom prst="rect">
            <a:avLst/>
          </a:prstGeom>
        </p:spPr>
      </p:pic>
      <p:sp>
        <p:nvSpPr>
          <p:cNvPr id="73" name="ZoneTexte 26"/>
          <p:cNvSpPr txBox="1">
            <a:spLocks noChangeArrowheads="1"/>
          </p:cNvSpPr>
          <p:nvPr/>
        </p:nvSpPr>
        <p:spPr bwMode="auto">
          <a:xfrm>
            <a:off x="7723634" y="6210279"/>
            <a:ext cx="17366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Lebanon, </a:t>
            </a:r>
            <a:r>
              <a:rPr lang="fr-FR" sz="11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Syria</a:t>
            </a:r>
            <a:endParaRPr lang="fr-FR" sz="1100" dirty="0">
              <a:solidFill>
                <a:srgbClr val="C1022C"/>
              </a:solidFill>
              <a:latin typeface="Century Gothic" panose="020B0502020202020204" pitchFamily="34" charset="0"/>
            </a:endParaRPr>
          </a:p>
        </p:txBody>
      </p:sp>
      <p:pic>
        <p:nvPicPr>
          <p:cNvPr id="74" name="Image 73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8998" y="6206816"/>
            <a:ext cx="658275" cy="402740"/>
          </a:xfrm>
          <a:prstGeom prst="rect">
            <a:avLst/>
          </a:prstGeom>
        </p:spPr>
      </p:pic>
      <p:sp>
        <p:nvSpPr>
          <p:cNvPr id="75" name="ZoneTexte 26"/>
          <p:cNvSpPr txBox="1">
            <a:spLocks noChangeArrowheads="1"/>
          </p:cNvSpPr>
          <p:nvPr/>
        </p:nvSpPr>
        <p:spPr bwMode="auto">
          <a:xfrm>
            <a:off x="10082764" y="6210279"/>
            <a:ext cx="17366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Lebanon</a:t>
            </a:r>
          </a:p>
        </p:txBody>
      </p:sp>
    </p:spTree>
    <p:extLst>
      <p:ext uri="{BB962C8B-B14F-4D97-AF65-F5344CB8AC3E}">
        <p14:creationId xmlns:p14="http://schemas.microsoft.com/office/powerpoint/2010/main" val="3616123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249275" y="1057915"/>
            <a:ext cx="1175582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3080" name="ZoneTexte 5"/>
          <p:cNvSpPr txBox="1">
            <a:spLocks noChangeArrowheads="1"/>
          </p:cNvSpPr>
          <p:nvPr/>
        </p:nvSpPr>
        <p:spPr bwMode="auto">
          <a:xfrm>
            <a:off x="1293944" y="108041"/>
            <a:ext cx="779727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2/4 - ENTREPRENEURSHIP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: to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Gisha" panose="020B0502040204020203" pitchFamily="34" charset="-79"/>
              </a:rPr>
              <a:t>f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ight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against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poverty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and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nhance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conomic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development</a:t>
            </a:r>
            <a:endParaRPr lang="fr-FR" sz="2000" dirty="0">
              <a:solidFill>
                <a:schemeClr val="tx1">
                  <a:lumMod val="50000"/>
                </a:schemeClr>
              </a:solidFill>
              <a:latin typeface="Century Gothic" panose="020B0502020202020204" pitchFamily="34" charset="0"/>
              <a:ea typeface="Tahoma" pitchFamily="34" charset="0"/>
              <a:cs typeface="Consolas" pitchFamily="49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fr-FR" sz="2200" dirty="0">
              <a:latin typeface="Century Gothic" panose="020B0502020202020204" pitchFamily="34" charset="0"/>
              <a:ea typeface="Tahoma" pitchFamily="34" charset="0"/>
              <a:cs typeface="Consolas" pitchFamily="49" charset="0"/>
            </a:endParaRPr>
          </a:p>
        </p:txBody>
      </p:sp>
      <p:sp>
        <p:nvSpPr>
          <p:cNvPr id="4" name="ZoneTexte 19"/>
          <p:cNvSpPr txBox="1">
            <a:spLocks noChangeArrowheads="1"/>
          </p:cNvSpPr>
          <p:nvPr/>
        </p:nvSpPr>
        <p:spPr bwMode="auto">
          <a:xfrm>
            <a:off x="1461507" y="1285679"/>
            <a:ext cx="330021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 to SMALL ENTERPRISES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7555764" y="6209687"/>
            <a:ext cx="2983656" cy="414538"/>
            <a:chOff x="7635085" y="6204273"/>
            <a:chExt cx="2983656" cy="414538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5085" y="6204273"/>
              <a:ext cx="679160" cy="414538"/>
            </a:xfrm>
            <a:prstGeom prst="rect">
              <a:avLst/>
            </a:prstGeom>
          </p:spPr>
        </p:pic>
        <p:sp>
          <p:nvSpPr>
            <p:cNvPr id="32" name="ZoneTexte 26"/>
            <p:cNvSpPr txBox="1">
              <a:spLocks noChangeArrowheads="1"/>
            </p:cNvSpPr>
            <p:nvPr/>
          </p:nvSpPr>
          <p:spPr bwMode="auto">
            <a:xfrm>
              <a:off x="8193497" y="6243975"/>
              <a:ext cx="242524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Cameroon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, Ivory 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Coast</a:t>
              </a:r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2</a:t>
            </a:fld>
            <a:endParaRPr lang="fr-FR" dirty="0"/>
          </a:p>
        </p:txBody>
      </p:sp>
      <p:sp>
        <p:nvSpPr>
          <p:cNvPr id="34" name="ZoneTexte 19"/>
          <p:cNvSpPr txBox="1">
            <a:spLocks noChangeArrowheads="1"/>
          </p:cNvSpPr>
          <p:nvPr/>
        </p:nvSpPr>
        <p:spPr bwMode="auto">
          <a:xfrm>
            <a:off x="259392" y="3280188"/>
            <a:ext cx="570745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o assist entrepreneurs in the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development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of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their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ctivity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ZoneTexte 19"/>
          <p:cNvSpPr txBox="1">
            <a:spLocks noChangeArrowheads="1"/>
          </p:cNvSpPr>
          <p:nvPr/>
        </p:nvSpPr>
        <p:spPr bwMode="auto">
          <a:xfrm>
            <a:off x="7682221" y="1297025"/>
            <a:ext cx="28436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URAL ENTREPRENEURSHIP</a:t>
            </a:r>
          </a:p>
        </p:txBody>
      </p:sp>
      <p:cxnSp>
        <p:nvCxnSpPr>
          <p:cNvPr id="44" name="Connecteur droit 43"/>
          <p:cNvCxnSpPr/>
          <p:nvPr/>
        </p:nvCxnSpPr>
        <p:spPr>
          <a:xfrm>
            <a:off x="6148085" y="1248291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266190" y="387305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>
          <a:xfrm flipH="1">
            <a:off x="287843" y="516003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Connecteur droit 52"/>
          <p:cNvCxnSpPr/>
          <p:nvPr/>
        </p:nvCxnSpPr>
        <p:spPr>
          <a:xfrm flipH="1">
            <a:off x="287844" y="604699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89" b="38532"/>
          <a:stretch/>
        </p:blipFill>
        <p:spPr>
          <a:xfrm>
            <a:off x="249276" y="1796578"/>
            <a:ext cx="5885999" cy="14040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33" b="51236"/>
          <a:stretch/>
        </p:blipFill>
        <p:spPr>
          <a:xfrm>
            <a:off x="6155960" y="1801774"/>
            <a:ext cx="5826150" cy="1404000"/>
          </a:xfrm>
          <a:prstGeom prst="rect">
            <a:avLst/>
          </a:prstGeom>
        </p:spPr>
      </p:pic>
      <p:sp>
        <p:nvSpPr>
          <p:cNvPr id="52" name="Rectangle 6"/>
          <p:cNvSpPr>
            <a:spLocks noChangeArrowheads="1"/>
          </p:cNvSpPr>
          <p:nvPr/>
        </p:nvSpPr>
        <p:spPr bwMode="auto">
          <a:xfrm>
            <a:off x="1293944" y="4183168"/>
            <a:ext cx="423799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Basic Management Training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15 Management and Services Centers(CGS) et 5 mobile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units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7100762" y="3305011"/>
            <a:ext cx="3893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o support entrepreneurial initiatives in agriculture or agribusiness</a:t>
            </a:r>
          </a:p>
        </p:txBody>
      </p:sp>
      <p:sp>
        <p:nvSpPr>
          <p:cNvPr id="55" name="Rectangle 6"/>
          <p:cNvSpPr>
            <a:spLocks noChangeArrowheads="1"/>
          </p:cNvSpPr>
          <p:nvPr/>
        </p:nvSpPr>
        <p:spPr bwMode="auto">
          <a:xfrm>
            <a:off x="7100762" y="4075447"/>
            <a:ext cx="450068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RANSFORM :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RANSferring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apacities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to Small entrepreneurs in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FOod-processing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,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esearch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and Management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PONH : support to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farmers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94301" y="5243832"/>
            <a:ext cx="48376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Nearly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4,0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entrepreneurs</a:t>
            </a:r>
          </a:p>
          <a:p>
            <a:pPr algn="ctr"/>
            <a:r>
              <a:rPr lang="fr-FR" sz="1400" dirty="0" err="1">
                <a:latin typeface="Century Gothic" panose="020B0502020202020204" pitchFamily="34" charset="0"/>
                <a:ea typeface="Times New Roman" panose="02020603050405020304" pitchFamily="18" charset="0"/>
              </a:rPr>
              <a:t>improved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latin typeface="Century Gothic" panose="020B0502020202020204" pitchFamily="34" charset="0"/>
                <a:ea typeface="Times New Roman" panose="02020603050405020304" pitchFamily="18" charset="0"/>
              </a:rPr>
              <a:t>their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 revenues and </a:t>
            </a:r>
            <a:r>
              <a:rPr lang="fr-FR" sz="1400" dirty="0" err="1">
                <a:latin typeface="Century Gothic" panose="020B0502020202020204" pitchFamily="34" charset="0"/>
                <a:ea typeface="Times New Roman" panose="02020603050405020304" pitchFamily="18" charset="0"/>
              </a:rPr>
              <a:t>improved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latin typeface="Century Gothic" panose="020B0502020202020204" pitchFamily="34" charset="0"/>
                <a:ea typeface="Times New Roman" panose="02020603050405020304" pitchFamily="18" charset="0"/>
              </a:rPr>
              <a:t>their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 living conditions in 2016</a:t>
            </a:r>
          </a:p>
        </p:txBody>
      </p:sp>
      <p:sp>
        <p:nvSpPr>
          <p:cNvPr id="57" name="Rectangle 56"/>
          <p:cNvSpPr/>
          <p:nvPr/>
        </p:nvSpPr>
        <p:spPr>
          <a:xfrm>
            <a:off x="6996096" y="5362002"/>
            <a:ext cx="4145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45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ntrepreneurs,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farmers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and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mall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food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business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owners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latin typeface="Century Gothic" panose="020B0502020202020204" pitchFamily="34" charset="0"/>
                <a:ea typeface="Times New Roman" panose="02020603050405020304" pitchFamily="18" charset="0"/>
              </a:rPr>
              <a:t>trained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in 2016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539388" y="6175988"/>
            <a:ext cx="5361920" cy="738664"/>
            <a:chOff x="521399" y="6187834"/>
            <a:chExt cx="5361920" cy="738664"/>
          </a:xfrm>
        </p:grpSpPr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1399" y="6243975"/>
              <a:ext cx="659830" cy="402740"/>
            </a:xfrm>
            <a:prstGeom prst="rect">
              <a:avLst/>
            </a:prstGeom>
          </p:spPr>
        </p:pic>
        <p:sp>
          <p:nvSpPr>
            <p:cNvPr id="59" name="Rectangle 58"/>
            <p:cNvSpPr/>
            <p:nvPr/>
          </p:nvSpPr>
          <p:spPr>
            <a:xfrm>
              <a:off x="1051399" y="6187834"/>
              <a:ext cx="483192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Cameroon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, Ivory 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Coast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, DRC, Madagascar, Congo-Brazzaville, Lebanon, 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Palestinian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 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territories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, Vietnam</a:t>
              </a:r>
            </a:p>
            <a:p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0" name="Image 5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92" y="85218"/>
            <a:ext cx="874767" cy="884597"/>
          </a:xfrm>
          <a:prstGeom prst="rect">
            <a:avLst/>
          </a:prstGeom>
        </p:spPr>
      </p:pic>
      <p:sp>
        <p:nvSpPr>
          <p:cNvPr id="17" name="Parallélogramme 16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1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62" name="Parallélogramme 61"/>
          <p:cNvSpPr/>
          <p:nvPr/>
        </p:nvSpPr>
        <p:spPr>
          <a:xfrm>
            <a:off x="9979156" y="-18556"/>
            <a:ext cx="1237735" cy="895350"/>
          </a:xfrm>
          <a:prstGeom prst="parallelogram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3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CTS</a:t>
            </a:r>
          </a:p>
        </p:txBody>
      </p:sp>
      <p:sp>
        <p:nvSpPr>
          <p:cNvPr id="63" name="Parallélogramme 62"/>
          <p:cNvSpPr/>
          <p:nvPr/>
        </p:nvSpPr>
        <p:spPr>
          <a:xfrm>
            <a:off x="11052437" y="-12484"/>
            <a:ext cx="1279520" cy="895350"/>
          </a:xfrm>
          <a:prstGeom prst="parallelogram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COUNTRIES</a:t>
            </a:r>
          </a:p>
        </p:txBody>
      </p:sp>
      <p:pic>
        <p:nvPicPr>
          <p:cNvPr id="64" name="Image 6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7091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249275" y="1057915"/>
            <a:ext cx="1175582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3080" name="ZoneTexte 5"/>
          <p:cNvSpPr txBox="1">
            <a:spLocks noChangeArrowheads="1"/>
          </p:cNvSpPr>
          <p:nvPr/>
        </p:nvSpPr>
        <p:spPr bwMode="auto">
          <a:xfrm>
            <a:off x="1293944" y="108041"/>
            <a:ext cx="7477094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/4 – </a:t>
            </a:r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</a:t>
            </a: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UCATION</a:t>
            </a:r>
            <a:r>
              <a:rPr lang="fr-FR" sz="2000" dirty="0">
                <a:latin typeface="Century Gothic" panose="020B0502020202020204" pitchFamily="34" charset="0"/>
                <a:cs typeface="Gisha" panose="020B0502040204020203" pitchFamily="34" charset="-79"/>
              </a:rPr>
              <a:t>:</a:t>
            </a: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to </a:t>
            </a:r>
            <a:r>
              <a:rPr lang="fr-FR" sz="2200" dirty="0" err="1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promote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200" dirty="0" err="1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access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to </a:t>
            </a:r>
            <a:r>
              <a:rPr lang="fr-FR" sz="2200" dirty="0" err="1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quality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200" dirty="0" err="1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ducation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for </a:t>
            </a:r>
            <a:r>
              <a:rPr lang="fr-FR" sz="2200" dirty="0" err="1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marginalised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populations</a:t>
            </a:r>
          </a:p>
          <a:p>
            <a:pPr>
              <a:spcBef>
                <a:spcPct val="0"/>
              </a:spcBef>
              <a:buFontTx/>
              <a:buNone/>
            </a:pPr>
            <a:endParaRPr lang="fr-FR" sz="2200" dirty="0">
              <a:latin typeface="Century Gothic" panose="020B0502020202020204" pitchFamily="34" charset="0"/>
              <a:ea typeface="Tahoma" pitchFamily="34" charset="0"/>
              <a:cs typeface="Consolas" pitchFamily="49" charset="0"/>
            </a:endParaRPr>
          </a:p>
        </p:txBody>
      </p:sp>
      <p:sp>
        <p:nvSpPr>
          <p:cNvPr id="4" name="ZoneTexte 19"/>
          <p:cNvSpPr txBox="1">
            <a:spLocks noChangeArrowheads="1"/>
          </p:cNvSpPr>
          <p:nvPr/>
        </p:nvSpPr>
        <p:spPr bwMode="auto">
          <a:xfrm>
            <a:off x="249794" y="1248291"/>
            <a:ext cx="29641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RES – SESAME PROGRAMS</a:t>
            </a:r>
          </a:p>
        </p:txBody>
      </p:sp>
      <p:sp>
        <p:nvSpPr>
          <p:cNvPr id="3088" name="ZoneTexte 21"/>
          <p:cNvSpPr txBox="1">
            <a:spLocks noChangeArrowheads="1"/>
          </p:cNvSpPr>
          <p:nvPr/>
        </p:nvSpPr>
        <p:spPr bwMode="auto">
          <a:xfrm>
            <a:off x="3213909" y="3281598"/>
            <a:ext cx="29408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Young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efugees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who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ropp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out of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because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of exile</a:t>
            </a:r>
          </a:p>
        </p:txBody>
      </p:sp>
      <p:sp>
        <p:nvSpPr>
          <p:cNvPr id="3090" name="ZoneTexte 24"/>
          <p:cNvSpPr txBox="1">
            <a:spLocks noChangeArrowheads="1"/>
          </p:cNvSpPr>
          <p:nvPr/>
        </p:nvSpPr>
        <p:spPr bwMode="auto">
          <a:xfrm>
            <a:off x="6183219" y="1166818"/>
            <a:ext cx="29333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DUCATION FOR CHILDREN WITH SPECIAL NEEDS</a:t>
            </a:r>
          </a:p>
        </p:txBody>
      </p:sp>
      <p:grpSp>
        <p:nvGrpSpPr>
          <p:cNvPr id="19" name="Groupe 18"/>
          <p:cNvGrpSpPr/>
          <p:nvPr/>
        </p:nvGrpSpPr>
        <p:grpSpPr>
          <a:xfrm>
            <a:off x="694069" y="6241850"/>
            <a:ext cx="1864245" cy="402740"/>
            <a:chOff x="602730" y="6241123"/>
            <a:chExt cx="1864245" cy="402740"/>
          </a:xfrm>
        </p:grpSpPr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730" y="6241123"/>
              <a:ext cx="659830" cy="402740"/>
            </a:xfrm>
            <a:prstGeom prst="rect">
              <a:avLst/>
            </a:prstGeom>
          </p:spPr>
        </p:pic>
        <p:sp>
          <p:nvSpPr>
            <p:cNvPr id="3092" name="ZoneTexte 26"/>
            <p:cNvSpPr txBox="1">
              <a:spLocks noChangeArrowheads="1"/>
            </p:cNvSpPr>
            <p:nvPr/>
          </p:nvSpPr>
          <p:spPr bwMode="auto">
            <a:xfrm>
              <a:off x="1095809" y="6289588"/>
              <a:ext cx="1371166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Madagascar</a:t>
              </a:r>
            </a:p>
          </p:txBody>
        </p:sp>
      </p:grpSp>
      <p:sp>
        <p:nvSpPr>
          <p:cNvPr id="3093" name="ZoneTexte 23"/>
          <p:cNvSpPr txBox="1">
            <a:spLocks noChangeArrowheads="1"/>
          </p:cNvSpPr>
          <p:nvPr/>
        </p:nvSpPr>
        <p:spPr bwMode="auto">
          <a:xfrm>
            <a:off x="180376" y="5336664"/>
            <a:ext cx="28869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Nearly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6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1,00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children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and </a:t>
            </a:r>
            <a:r>
              <a:rPr lang="fr-FR" sz="14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young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people </a:t>
            </a:r>
            <a:r>
              <a:rPr lang="fr-FR" sz="1400" dirty="0" err="1">
                <a:solidFill>
                  <a:srgbClr val="C1022C"/>
                </a:solidFill>
                <a:latin typeface="Century Gothic" panose="020B0502020202020204" pitchFamily="34" charset="0"/>
              </a:rPr>
              <a:t>supported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in 2016</a:t>
            </a:r>
          </a:p>
        </p:txBody>
      </p:sp>
      <p:sp>
        <p:nvSpPr>
          <p:cNvPr id="3094" name="ZoneTexte 21"/>
          <p:cNvSpPr txBox="1">
            <a:spLocks noChangeArrowheads="1"/>
          </p:cNvSpPr>
          <p:nvPr/>
        </p:nvSpPr>
        <p:spPr bwMode="auto">
          <a:xfrm>
            <a:off x="9095763" y="3273135"/>
            <a:ext cx="29093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Young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tudents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who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ropp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out of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100" name="ZoneTexte 23"/>
          <p:cNvSpPr txBox="1">
            <a:spLocks noChangeArrowheads="1"/>
          </p:cNvSpPr>
          <p:nvPr/>
        </p:nvSpPr>
        <p:spPr bwMode="auto">
          <a:xfrm>
            <a:off x="3279487" y="5343736"/>
            <a:ext cx="31321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More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than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6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70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hildren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welcom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in</a:t>
            </a:r>
            <a:r>
              <a:rPr lang="fr-FR" sz="1400" b="1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2016</a:t>
            </a:r>
          </a:p>
        </p:txBody>
      </p:sp>
      <p:sp>
        <p:nvSpPr>
          <p:cNvPr id="3101" name="ZoneTexte 23"/>
          <p:cNvSpPr txBox="1">
            <a:spLocks noChangeArrowheads="1"/>
          </p:cNvSpPr>
          <p:nvPr/>
        </p:nvSpPr>
        <p:spPr bwMode="auto">
          <a:xfrm>
            <a:off x="9186925" y="5339107"/>
            <a:ext cx="28601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More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than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20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hildren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 and teenagers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welcomed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in 2016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sz="12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endParaRPr lang="fr-FR" sz="1100" dirty="0">
              <a:solidFill>
                <a:schemeClr val="accent4"/>
              </a:solidFill>
              <a:latin typeface="Century Gothic" panose="020B0502020202020204" pitchFamily="34" charset="0"/>
            </a:endParaRPr>
          </a:p>
        </p:txBody>
      </p:sp>
      <p:sp>
        <p:nvSpPr>
          <p:cNvPr id="3102" name="ZoneTexte 23"/>
          <p:cNvSpPr txBox="1">
            <a:spLocks noChangeArrowheads="1"/>
          </p:cNvSpPr>
          <p:nvPr/>
        </p:nvSpPr>
        <p:spPr bwMode="auto">
          <a:xfrm>
            <a:off x="6196274" y="5351969"/>
            <a:ext cx="294488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6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8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chidren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benefited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from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the </a:t>
            </a:r>
            <a:r>
              <a:rPr lang="fr-FR" sz="1400" dirty="0" err="1">
                <a:solidFill>
                  <a:schemeClr val="accent4"/>
                </a:solidFill>
                <a:latin typeface="Century Gothic" panose="020B0502020202020204" pitchFamily="34" charset="0"/>
              </a:rPr>
              <a:t>detection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 and care program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6985102" y="6241850"/>
            <a:ext cx="1591433" cy="414538"/>
            <a:chOff x="7042519" y="6252847"/>
            <a:chExt cx="1591433" cy="414538"/>
          </a:xfrm>
        </p:grpSpPr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2519" y="6252847"/>
              <a:ext cx="679160" cy="414538"/>
            </a:xfrm>
            <a:prstGeom prst="rect">
              <a:avLst/>
            </a:prstGeom>
          </p:spPr>
        </p:pic>
        <p:sp>
          <p:nvSpPr>
            <p:cNvPr id="3104" name="ZoneTexte 26"/>
            <p:cNvSpPr txBox="1">
              <a:spLocks noChangeArrowheads="1"/>
            </p:cNvSpPr>
            <p:nvPr/>
          </p:nvSpPr>
          <p:spPr bwMode="auto">
            <a:xfrm>
              <a:off x="7569510" y="6290750"/>
              <a:ext cx="106444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Lebanon</a:t>
              </a:r>
            </a:p>
          </p:txBody>
        </p:sp>
      </p:grpSp>
      <p:grpSp>
        <p:nvGrpSpPr>
          <p:cNvPr id="15" name="Groupe 14"/>
          <p:cNvGrpSpPr/>
          <p:nvPr/>
        </p:nvGrpSpPr>
        <p:grpSpPr>
          <a:xfrm>
            <a:off x="4025492" y="6249868"/>
            <a:ext cx="1603366" cy="414538"/>
            <a:chOff x="3807652" y="6235224"/>
            <a:chExt cx="1603366" cy="414538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7652" y="6235224"/>
              <a:ext cx="679160" cy="414538"/>
            </a:xfrm>
            <a:prstGeom prst="rect">
              <a:avLst/>
            </a:prstGeom>
          </p:spPr>
        </p:pic>
        <p:sp>
          <p:nvSpPr>
            <p:cNvPr id="32" name="ZoneTexte 26"/>
            <p:cNvSpPr txBox="1">
              <a:spLocks noChangeArrowheads="1"/>
            </p:cNvSpPr>
            <p:nvPr/>
          </p:nvSpPr>
          <p:spPr bwMode="auto">
            <a:xfrm>
              <a:off x="4366063" y="6274926"/>
              <a:ext cx="104495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Lebanon</a:t>
              </a:r>
            </a:p>
          </p:txBody>
        </p:sp>
      </p:grp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3</a:t>
            </a:fld>
            <a:endParaRPr lang="fr-FR" dirty="0"/>
          </a:p>
        </p:txBody>
      </p:sp>
      <p:sp>
        <p:nvSpPr>
          <p:cNvPr id="34" name="ZoneTexte 19"/>
          <p:cNvSpPr txBox="1">
            <a:spLocks noChangeArrowheads="1"/>
          </p:cNvSpPr>
          <p:nvPr/>
        </p:nvSpPr>
        <p:spPr bwMode="auto">
          <a:xfrm>
            <a:off x="259392" y="3280188"/>
            <a:ext cx="293391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ural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tudents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ffect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by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poverty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164723" y="3893608"/>
            <a:ext cx="3024856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RES : assistance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from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junior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to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baccalaureate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ESAME : support to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bachelor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egree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tudents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6" name="ZoneTexte 19"/>
          <p:cNvSpPr txBox="1">
            <a:spLocks noChangeArrowheads="1"/>
          </p:cNvSpPr>
          <p:nvPr/>
        </p:nvSpPr>
        <p:spPr bwMode="auto">
          <a:xfrm>
            <a:off x="3182697" y="1068544"/>
            <a:ext cx="305302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DUCATION CENTERS FOR REFUGEE AND LEBANESE CHILDREN</a:t>
            </a: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3213910" y="4002146"/>
            <a:ext cx="284498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centers : Janah, Tripoli and Al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Qaa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9" name="ZoneTexte 21"/>
          <p:cNvSpPr txBox="1">
            <a:spLocks noChangeArrowheads="1"/>
          </p:cNvSpPr>
          <p:nvPr/>
        </p:nvSpPr>
        <p:spPr bwMode="auto">
          <a:xfrm>
            <a:off x="6184982" y="3276800"/>
            <a:ext cx="290393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xclud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and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marginalised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hildren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auto">
          <a:xfrm>
            <a:off x="6160201" y="3990539"/>
            <a:ext cx="284498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MOSAIK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pecial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chool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rait d’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Union’s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training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esource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and guidance center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42" name="ZoneTexte 24"/>
          <p:cNvSpPr txBox="1">
            <a:spLocks noChangeArrowheads="1"/>
          </p:cNvSpPr>
          <p:nvPr/>
        </p:nvSpPr>
        <p:spPr bwMode="auto">
          <a:xfrm>
            <a:off x="9111622" y="1198779"/>
            <a:ext cx="289773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HE AL HAMAWI COMMUNITY EDUCATION CENTER</a:t>
            </a:r>
          </a:p>
        </p:txBody>
      </p:sp>
      <p:sp>
        <p:nvSpPr>
          <p:cNvPr id="43" name="Rectangle 6"/>
          <p:cNvSpPr>
            <a:spLocks noChangeArrowheads="1"/>
          </p:cNvSpPr>
          <p:nvPr/>
        </p:nvSpPr>
        <p:spPr bwMode="auto">
          <a:xfrm>
            <a:off x="9135508" y="3998380"/>
            <a:ext cx="231366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Based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in East Jérusalem</a:t>
            </a:r>
          </a:p>
        </p:txBody>
      </p:sp>
      <p:pic>
        <p:nvPicPr>
          <p:cNvPr id="38" name="Image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44" y="105055"/>
            <a:ext cx="873401" cy="883217"/>
          </a:xfrm>
          <a:prstGeom prst="rect">
            <a:avLst/>
          </a:prstGeom>
        </p:spPr>
      </p:pic>
      <p:cxnSp>
        <p:nvCxnSpPr>
          <p:cNvPr id="7" name="Connecteur droit 6"/>
          <p:cNvCxnSpPr/>
          <p:nvPr/>
        </p:nvCxnSpPr>
        <p:spPr>
          <a:xfrm>
            <a:off x="3200407" y="1248290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Connecteur droit 43"/>
          <p:cNvCxnSpPr/>
          <p:nvPr/>
        </p:nvCxnSpPr>
        <p:spPr>
          <a:xfrm>
            <a:off x="6148085" y="1248291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necteur droit 44"/>
          <p:cNvCxnSpPr/>
          <p:nvPr/>
        </p:nvCxnSpPr>
        <p:spPr>
          <a:xfrm>
            <a:off x="9089101" y="1248291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266190" y="387305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>
          <a:xfrm flipH="1">
            <a:off x="287844" y="525528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38" r="1618" b="20107"/>
          <a:stretch/>
        </p:blipFill>
        <p:spPr>
          <a:xfrm>
            <a:off x="249794" y="1796576"/>
            <a:ext cx="2952000" cy="14040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31" r="1679" b="16727"/>
          <a:stretch/>
        </p:blipFill>
        <p:spPr>
          <a:xfrm>
            <a:off x="3200407" y="1803380"/>
            <a:ext cx="2952000" cy="1404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9" b="29856"/>
          <a:stretch/>
        </p:blipFill>
        <p:spPr>
          <a:xfrm>
            <a:off x="6146919" y="1801752"/>
            <a:ext cx="2952000" cy="140400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79" b="29856"/>
          <a:stretch/>
        </p:blipFill>
        <p:spPr>
          <a:xfrm>
            <a:off x="9089281" y="1805948"/>
            <a:ext cx="2916000" cy="1404000"/>
          </a:xfrm>
          <a:prstGeom prst="rect">
            <a:avLst/>
          </a:prstGeom>
        </p:spPr>
      </p:pic>
      <p:cxnSp>
        <p:nvCxnSpPr>
          <p:cNvPr id="53" name="Connecteur droit 52"/>
          <p:cNvCxnSpPr/>
          <p:nvPr/>
        </p:nvCxnSpPr>
        <p:spPr>
          <a:xfrm flipH="1">
            <a:off x="287844" y="604699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8" name="Groupe 17"/>
          <p:cNvGrpSpPr/>
          <p:nvPr/>
        </p:nvGrpSpPr>
        <p:grpSpPr>
          <a:xfrm>
            <a:off x="9695343" y="6203324"/>
            <a:ext cx="1703516" cy="523220"/>
            <a:chOff x="9516935" y="6190988"/>
            <a:chExt cx="1703516" cy="523220"/>
          </a:xfrm>
        </p:grpSpPr>
        <p:pic>
          <p:nvPicPr>
            <p:cNvPr id="33" name="Image 32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6935" y="6264681"/>
              <a:ext cx="630622" cy="384912"/>
            </a:xfrm>
            <a:prstGeom prst="rect">
              <a:avLst/>
            </a:prstGeom>
          </p:spPr>
        </p:pic>
        <p:sp>
          <p:nvSpPr>
            <p:cNvPr id="3097" name="ZoneTexte 26"/>
            <p:cNvSpPr txBox="1">
              <a:spLocks noChangeArrowheads="1"/>
            </p:cNvSpPr>
            <p:nvPr/>
          </p:nvSpPr>
          <p:spPr bwMode="auto">
            <a:xfrm>
              <a:off x="10030033" y="6190988"/>
              <a:ext cx="1190418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Palestinian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Territories</a:t>
              </a:r>
              <a:endParaRPr lang="fr-FR" sz="1200" dirty="0">
                <a:solidFill>
                  <a:srgbClr val="C1022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59" name="Parallélogramme 58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4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60" name="Parallélogramme 59"/>
          <p:cNvSpPr/>
          <p:nvPr/>
        </p:nvSpPr>
        <p:spPr>
          <a:xfrm>
            <a:off x="9979266" y="-13361"/>
            <a:ext cx="1237735" cy="895350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9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CTS</a:t>
            </a:r>
          </a:p>
        </p:txBody>
      </p:sp>
      <p:sp>
        <p:nvSpPr>
          <p:cNvPr id="61" name="Parallélogramme 60"/>
          <p:cNvSpPr/>
          <p:nvPr/>
        </p:nvSpPr>
        <p:spPr>
          <a:xfrm>
            <a:off x="11062855" y="-12484"/>
            <a:ext cx="1269101" cy="895350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COUNTRIES</a:t>
            </a:r>
          </a:p>
        </p:txBody>
      </p:sp>
      <p:pic>
        <p:nvPicPr>
          <p:cNvPr id="62" name="Image 6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411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249275" y="1057915"/>
            <a:ext cx="1175582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3080" name="ZoneTexte 5"/>
          <p:cNvSpPr txBox="1">
            <a:spLocks noChangeArrowheads="1"/>
          </p:cNvSpPr>
          <p:nvPr/>
        </p:nvSpPr>
        <p:spPr bwMode="auto">
          <a:xfrm>
            <a:off x="1293944" y="108041"/>
            <a:ext cx="7755493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4/4 - HEALTHCARE</a:t>
            </a:r>
            <a:r>
              <a:rPr lang="fr-FR" sz="2000" dirty="0">
                <a:latin typeface="Century Gothic" panose="020B0502020202020204" pitchFamily="34" charset="0"/>
                <a:cs typeface="Gisha" panose="020B0502040204020203" pitchFamily="34" charset="-79"/>
              </a:rPr>
              <a:t>:</a:t>
            </a:r>
            <a:r>
              <a:rPr lang="fr-FR" sz="20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22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Gisha" panose="020B0502040204020203" pitchFamily="34" charset="-79"/>
              </a:rPr>
              <a:t>to </a:t>
            </a:r>
            <a:r>
              <a:rPr lang="fr-FR" sz="22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Gisha" panose="020B0502040204020203" pitchFamily="34" charset="-79"/>
              </a:rPr>
              <a:t>s</a:t>
            </a:r>
            <a:r>
              <a:rPr lang="fr-FR" sz="22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trengthen</a:t>
            </a:r>
            <a:r>
              <a:rPr lang="fr-FR" sz="22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2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health</a:t>
            </a:r>
            <a:r>
              <a:rPr lang="fr-FR" sz="22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structures and </a:t>
            </a:r>
            <a:r>
              <a:rPr lang="fr-FR" sz="22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improve</a:t>
            </a:r>
            <a:r>
              <a:rPr lang="fr-FR" sz="22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the care for the </a:t>
            </a:r>
            <a:r>
              <a:rPr lang="fr-FR" sz="22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most</a:t>
            </a:r>
            <a:r>
              <a:rPr lang="fr-FR" sz="22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</a:t>
            </a:r>
            <a:r>
              <a:rPr lang="fr-FR" sz="22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vulnerable</a:t>
            </a:r>
            <a:r>
              <a:rPr lang="fr-FR" sz="22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 patients</a:t>
            </a:r>
          </a:p>
        </p:txBody>
      </p:sp>
      <p:sp>
        <p:nvSpPr>
          <p:cNvPr id="4" name="ZoneTexte 19"/>
          <p:cNvSpPr txBox="1">
            <a:spLocks noChangeArrowheads="1"/>
          </p:cNvSpPr>
          <p:nvPr/>
        </p:nvSpPr>
        <p:spPr bwMode="auto">
          <a:xfrm>
            <a:off x="1547271" y="1168891"/>
            <a:ext cx="33028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UPPORT to HEALTHCARE STRUCTURES PROGRAM (PASS)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7552635" y="6220185"/>
            <a:ext cx="3568576" cy="523220"/>
            <a:chOff x="7552635" y="6220185"/>
            <a:chExt cx="3568576" cy="523220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2635" y="6237543"/>
              <a:ext cx="679160" cy="414538"/>
            </a:xfrm>
            <a:prstGeom prst="rect">
              <a:avLst/>
            </a:prstGeom>
          </p:spPr>
        </p:pic>
        <p:sp>
          <p:nvSpPr>
            <p:cNvPr id="32" name="ZoneTexte 26"/>
            <p:cNvSpPr txBox="1">
              <a:spLocks noChangeArrowheads="1"/>
            </p:cNvSpPr>
            <p:nvPr/>
          </p:nvSpPr>
          <p:spPr bwMode="auto">
            <a:xfrm>
              <a:off x="8114176" y="6220185"/>
              <a:ext cx="3007035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DRC, Madagascar, 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Cameroon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, Congo-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Brazzavile</a:t>
              </a:r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4</a:t>
            </a:fld>
            <a:endParaRPr lang="fr-FR" dirty="0"/>
          </a:p>
        </p:txBody>
      </p:sp>
      <p:sp>
        <p:nvSpPr>
          <p:cNvPr id="34" name="ZoneTexte 19"/>
          <p:cNvSpPr txBox="1">
            <a:spLocks noChangeArrowheads="1"/>
          </p:cNvSpPr>
          <p:nvPr/>
        </p:nvSpPr>
        <p:spPr bwMode="auto">
          <a:xfrm>
            <a:off x="344952" y="3716740"/>
            <a:ext cx="5707455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en-US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o improve access and treatment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ctr"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for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vulnerable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women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and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hildren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ZoneTexte 19"/>
          <p:cNvSpPr txBox="1">
            <a:spLocks noChangeArrowheads="1"/>
          </p:cNvSpPr>
          <p:nvPr/>
        </p:nvSpPr>
        <p:spPr bwMode="auto">
          <a:xfrm>
            <a:off x="7143213" y="1160869"/>
            <a:ext cx="409338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IMPROVEMENT OF CARE FOR PEOPLE SUFFERING of SICKLE-CELL DISEASE</a:t>
            </a:r>
          </a:p>
        </p:txBody>
      </p:sp>
      <p:cxnSp>
        <p:nvCxnSpPr>
          <p:cNvPr id="44" name="Connecteur droit 43"/>
          <p:cNvCxnSpPr/>
          <p:nvPr/>
        </p:nvCxnSpPr>
        <p:spPr>
          <a:xfrm>
            <a:off x="6148085" y="1248291"/>
            <a:ext cx="2196" cy="559066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309033" y="4331427"/>
            <a:ext cx="11508051" cy="2149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>
          <a:xfrm flipH="1">
            <a:off x="309033" y="5419212"/>
            <a:ext cx="1139725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4" name="ZoneTexte 53"/>
          <p:cNvSpPr txBox="1"/>
          <p:nvPr/>
        </p:nvSpPr>
        <p:spPr>
          <a:xfrm>
            <a:off x="7227549" y="3736279"/>
            <a:ext cx="3893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o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improve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care for people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uffering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from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ickle-cell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disease</a:t>
            </a:r>
            <a:endParaRPr lang="fr-FR"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003654" y="5494630"/>
            <a:ext cx="4145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More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han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3,0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children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and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adults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uffering</a:t>
            </a:r>
            <a:r>
              <a:rPr lang="fr-FR" sz="1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from</a:t>
            </a:r>
            <a:r>
              <a:rPr lang="fr-FR" sz="1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drepanocytose</a:t>
            </a:r>
            <a:r>
              <a:rPr lang="fr-FR" sz="1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aken</a:t>
            </a:r>
            <a:r>
              <a:rPr lang="fr-FR" sz="1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care of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in 2016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456516" y="6252664"/>
            <a:ext cx="3534867" cy="562507"/>
            <a:chOff x="533369" y="6148547"/>
            <a:chExt cx="3534867" cy="562507"/>
          </a:xfrm>
        </p:grpSpPr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369" y="6148547"/>
              <a:ext cx="659830" cy="402740"/>
            </a:xfrm>
            <a:prstGeom prst="rect">
              <a:avLst/>
            </a:prstGeom>
          </p:spPr>
        </p:pic>
        <p:sp>
          <p:nvSpPr>
            <p:cNvPr id="59" name="Rectangle 58"/>
            <p:cNvSpPr/>
            <p:nvPr/>
          </p:nvSpPr>
          <p:spPr>
            <a:xfrm>
              <a:off x="1051399" y="6187834"/>
              <a:ext cx="301683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Congo-Brazzaville (Pointe-Noire)</a:t>
              </a:r>
            </a:p>
            <a:p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0" name="Image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92" y="100307"/>
            <a:ext cx="892605" cy="902637"/>
          </a:xfrm>
          <a:prstGeom prst="rect">
            <a:avLst/>
          </a:prstGeom>
        </p:spPr>
      </p:pic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1275505" y="4598774"/>
            <a:ext cx="346803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latin typeface="Century Gothic" panose="020B0502020202020204" pitchFamily="34" charset="0"/>
                <a:cs typeface="Gisha" panose="020B0502040204020203" pitchFamily="34" charset="-79"/>
              </a:rPr>
              <a:t>8 public and </a:t>
            </a:r>
            <a:r>
              <a:rPr lang="fr-FR" sz="1400" dirty="0" err="1">
                <a:latin typeface="Century Gothic" panose="020B0502020202020204" pitchFamily="34" charset="0"/>
                <a:cs typeface="Gisha" panose="020B0502040204020203" pitchFamily="34" charset="-79"/>
              </a:rPr>
              <a:t>private</a:t>
            </a:r>
            <a:r>
              <a:rPr lang="fr-FR" sz="1400" dirty="0"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dirty="0" err="1">
                <a:latin typeface="Century Gothic" panose="020B0502020202020204" pitchFamily="34" charset="0"/>
                <a:cs typeface="Gisha" panose="020B0502040204020203" pitchFamily="34" charset="-79"/>
              </a:rPr>
              <a:t>healthcare</a:t>
            </a:r>
            <a:r>
              <a:rPr lang="fr-FR" sz="1400" dirty="0">
                <a:latin typeface="Century Gothic" panose="020B0502020202020204" pitchFamily="34" charset="0"/>
                <a:cs typeface="Gisha" panose="020B0502040204020203" pitchFamily="34" charset="-79"/>
              </a:rPr>
              <a:t> centers </a:t>
            </a:r>
            <a:r>
              <a:rPr lang="fr-FR" sz="1400" dirty="0" err="1">
                <a:latin typeface="Century Gothic" panose="020B0502020202020204" pitchFamily="34" charset="0"/>
                <a:cs typeface="Gisha" panose="020B0502040204020203" pitchFamily="34" charset="-79"/>
              </a:rPr>
              <a:t>supported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93944" y="5494630"/>
            <a:ext cx="38973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More </a:t>
            </a:r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than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71,000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eople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benefiting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from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better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quality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healthcare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in 2016 </a:t>
            </a: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6562726" y="4409015"/>
            <a:ext cx="52543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upport to the </a:t>
            </a:r>
            <a:r>
              <a:rPr lang="fr-FR" sz="1400" dirty="0">
                <a:latin typeface="Century Gothic" panose="020B0502020202020204" pitchFamily="34" charset="0"/>
              </a:rPr>
              <a:t>Platform for the Protection </a:t>
            </a:r>
            <a:r>
              <a:rPr lang="fr-FR" sz="1400" dirty="0" err="1">
                <a:latin typeface="Century Gothic" panose="020B0502020202020204" pitchFamily="34" charset="0"/>
              </a:rPr>
              <a:t>against</a:t>
            </a:r>
            <a:r>
              <a:rPr lang="fr-FR" sz="1400" dirty="0"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latin typeface="Century Gothic" panose="020B0502020202020204" pitchFamily="34" charset="0"/>
              </a:rPr>
              <a:t>Sickle-Cell</a:t>
            </a:r>
            <a:r>
              <a:rPr lang="fr-FR" sz="1400" dirty="0"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latin typeface="Century Gothic" panose="020B0502020202020204" pitchFamily="34" charset="0"/>
              </a:rPr>
              <a:t>Disease</a:t>
            </a:r>
            <a:endParaRPr lang="fr-FR" sz="1400" dirty="0">
              <a:latin typeface="Century Gothic" panose="020B0502020202020204" pitchFamily="34" charset="0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apacity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building for the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NetworkStudy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of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ickle-cell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isease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in Central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frica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(REDAC)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 b="41464"/>
          <a:stretch/>
        </p:blipFill>
        <p:spPr>
          <a:xfrm>
            <a:off x="249275" y="1799675"/>
            <a:ext cx="5904000" cy="18360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27" b="20155"/>
          <a:stretch/>
        </p:blipFill>
        <p:spPr>
          <a:xfrm>
            <a:off x="6150281" y="1796579"/>
            <a:ext cx="5854820" cy="1838346"/>
          </a:xfrm>
          <a:prstGeom prst="rect">
            <a:avLst/>
          </a:prstGeom>
        </p:spPr>
      </p:pic>
      <p:cxnSp>
        <p:nvCxnSpPr>
          <p:cNvPr id="53" name="Connecteur droit 52"/>
          <p:cNvCxnSpPr/>
          <p:nvPr/>
        </p:nvCxnSpPr>
        <p:spPr>
          <a:xfrm flipH="1">
            <a:off x="309033" y="608509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Parallélogramme 42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1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45" name="Parallélogramme 44"/>
          <p:cNvSpPr/>
          <p:nvPr/>
        </p:nvSpPr>
        <p:spPr>
          <a:xfrm>
            <a:off x="9963583" y="-21159"/>
            <a:ext cx="1237735" cy="895350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CTS</a:t>
            </a:r>
          </a:p>
        </p:txBody>
      </p:sp>
      <p:sp>
        <p:nvSpPr>
          <p:cNvPr id="61" name="Parallélogramme 60"/>
          <p:cNvSpPr/>
          <p:nvPr/>
        </p:nvSpPr>
        <p:spPr>
          <a:xfrm>
            <a:off x="11021291" y="-12484"/>
            <a:ext cx="1310665" cy="895350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COUNTRIES</a:t>
            </a:r>
          </a:p>
        </p:txBody>
      </p:sp>
      <p:pic>
        <p:nvPicPr>
          <p:cNvPr id="62" name="Image 6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7637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5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9" b="7351"/>
          <a:stretch/>
        </p:blipFill>
        <p:spPr>
          <a:xfrm>
            <a:off x="124220" y="0"/>
            <a:ext cx="12067780" cy="666843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4220" y="5468127"/>
            <a:ext cx="12210655" cy="138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Thank</a:t>
            </a:r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4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you</a:t>
            </a:r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for </a:t>
            </a:r>
            <a:r>
              <a:rPr lang="fr-FR" sz="4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your</a:t>
            </a:r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44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interest</a:t>
            </a:r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!</a:t>
            </a:r>
          </a:p>
          <a:p>
            <a:pPr algn="ctr"/>
            <a:r>
              <a:rPr lang="fr-FR" sz="2000" dirty="0">
                <a:solidFill>
                  <a:schemeClr val="accent3"/>
                </a:solidFill>
                <a:latin typeface="Century Gothic" panose="020B0502020202020204" pitchFamily="34" charset="0"/>
              </a:rPr>
              <a:t>More information about IECD on</a:t>
            </a:r>
            <a:r>
              <a:rPr lang="fr-FR" sz="2000" b="1" i="1" dirty="0">
                <a:solidFill>
                  <a:schemeClr val="accent3"/>
                </a:solidFill>
              </a:rPr>
              <a:t> </a:t>
            </a:r>
            <a:r>
              <a:rPr lang="fr-FR" sz="2000" dirty="0">
                <a:solidFill>
                  <a:schemeClr val="accent3"/>
                </a:solidFill>
                <a:latin typeface="Century Gothic" panose="020B0502020202020204" pitchFamily="34" charset="0"/>
                <a:hlinkClick r:id="rId3"/>
              </a:rPr>
              <a:t>www.iecd.org</a:t>
            </a:r>
            <a:r>
              <a:rPr lang="fr-FR" sz="2000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8204" y="6427239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61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93" y="-1303020"/>
            <a:ext cx="12226692" cy="8161020"/>
          </a:xfrm>
          <a:prstGeom prst="rect">
            <a:avLst/>
          </a:prstGeo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2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26493" y="5468127"/>
            <a:ext cx="12226692" cy="138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Our mission? 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To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reate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environements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which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llow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every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individual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to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build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its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future</a:t>
            </a:r>
          </a:p>
          <a:p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and a more </a:t>
            </a:r>
            <a:r>
              <a:rPr lang="fr-FR" dirty="0" err="1">
                <a:solidFill>
                  <a:schemeClr val="tx2"/>
                </a:solidFill>
                <a:latin typeface="Century Gothic" panose="020B0502020202020204" pitchFamily="34" charset="0"/>
              </a:rPr>
              <a:t>equitable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 society</a:t>
            </a:r>
            <a:endParaRPr lang="fr-FR" sz="4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4457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023224" y="1051519"/>
            <a:ext cx="6416704" cy="5076396"/>
          </a:xfrm>
        </p:spPr>
        <p:txBody>
          <a:bodyPr>
            <a:normAutofit fontScale="62500" lnSpcReduction="20000"/>
          </a:bodyPr>
          <a:lstStyle/>
          <a:p>
            <a:pPr fontAlgn="base">
              <a:lnSpc>
                <a:spcPct val="120000"/>
              </a:lnSpc>
            </a:pP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A French international </a:t>
            </a:r>
            <a:r>
              <a:rPr lang="fr-FR" sz="2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olidarity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 organisation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recognized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of public-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interest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r>
              <a:rPr lang="fr-FR" sz="2400" dirty="0">
                <a:latin typeface="Century Gothic" panose="020B0502020202020204" pitchFamily="34" charset="0"/>
              </a:rPr>
              <a:t>An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expertise</a:t>
            </a:r>
            <a:r>
              <a:rPr lang="fr-FR" sz="2400" dirty="0">
                <a:latin typeface="Century Gothic" panose="020B0502020202020204" pitchFamily="34" charset="0"/>
              </a:rPr>
              <a:t> of </a:t>
            </a: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</a:rPr>
              <a:t>30</a:t>
            </a:r>
            <a:r>
              <a:rPr lang="fr-FR" sz="2400" dirty="0">
                <a:latin typeface="Century Gothic" panose="020B0502020202020204" pitchFamily="34" charset="0"/>
              </a:rPr>
              <a:t> </a:t>
            </a:r>
            <a:r>
              <a:rPr lang="fr-FR" sz="2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years</a:t>
            </a:r>
            <a:endParaRPr lang="fr-FR" sz="24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r>
              <a:rPr lang="fr-FR" sz="3800" dirty="0">
                <a:solidFill>
                  <a:srgbClr val="C1022C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52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400" dirty="0" err="1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projects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implemented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over</a:t>
            </a:r>
            <a:r>
              <a:rPr lang="fr-FR" sz="39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15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countries</a:t>
            </a: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  <a:p>
            <a:pPr fontAlgn="base">
              <a:lnSpc>
                <a:spcPct val="120000"/>
              </a:lnSpc>
            </a:pP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4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400" dirty="0" err="1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core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actions 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vocational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training and 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employment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for 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youth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entrepreneurship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education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fr-FR" sz="24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healthcare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)</a:t>
            </a:r>
          </a:p>
          <a:p>
            <a:pPr fontAlgn="base">
              <a:lnSpc>
                <a:spcPct val="120000"/>
              </a:lnSpc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>
              <a:lnSpc>
                <a:spcPct val="120000"/>
              </a:lnSpc>
            </a:pPr>
            <a:r>
              <a:rPr lang="fr-FR" sz="2400" dirty="0">
                <a:latin typeface="Century Gothic" panose="020B0502020202020204" pitchFamily="34" charset="0"/>
              </a:rPr>
              <a:t>More </a:t>
            </a:r>
            <a:r>
              <a:rPr lang="fr-FR" sz="2400" dirty="0" err="1">
                <a:latin typeface="Century Gothic" panose="020B0502020202020204" pitchFamily="34" charset="0"/>
              </a:rPr>
              <a:t>than</a:t>
            </a:r>
            <a:r>
              <a:rPr lang="fr-FR" sz="2400" dirty="0">
                <a:latin typeface="Century Gothic" panose="020B0502020202020204" pitchFamily="34" charset="0"/>
              </a:rPr>
              <a:t> </a:t>
            </a: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</a:rPr>
              <a:t>23,000 </a:t>
            </a:r>
            <a:r>
              <a:rPr lang="fr-FR" sz="26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children</a:t>
            </a:r>
            <a:r>
              <a:rPr lang="fr-FR" sz="2600" dirty="0">
                <a:solidFill>
                  <a:schemeClr val="tx2"/>
                </a:solidFill>
                <a:latin typeface="Century Gothic" panose="020B0502020202020204" pitchFamily="34" charset="0"/>
              </a:rPr>
              <a:t>, teenagers</a:t>
            </a:r>
            <a:r>
              <a:rPr lang="fr-FR" sz="26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young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people and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adults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trained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and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employed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>
              <a:lnSpc>
                <a:spcPct val="120000"/>
              </a:lnSpc>
            </a:pPr>
            <a:r>
              <a:rPr lang="fr-FR" sz="2400" dirty="0">
                <a:latin typeface="Century Gothic" panose="020B0502020202020204" pitchFamily="34" charset="0"/>
              </a:rPr>
              <a:t>More </a:t>
            </a:r>
            <a:r>
              <a:rPr lang="fr-FR" sz="2400" dirty="0" err="1">
                <a:latin typeface="Century Gothic" panose="020B0502020202020204" pitchFamily="34" charset="0"/>
              </a:rPr>
              <a:t>than</a:t>
            </a:r>
            <a:r>
              <a:rPr lang="fr-FR" sz="2400" dirty="0">
                <a:latin typeface="Century Gothic" panose="020B0502020202020204" pitchFamily="34" charset="0"/>
              </a:rPr>
              <a:t> </a:t>
            </a: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</a:rPr>
              <a:t>74,000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patients </a:t>
            </a:r>
            <a:r>
              <a:rPr lang="fr-FR" sz="2400" dirty="0" err="1">
                <a:latin typeface="Century Gothic" panose="020B0502020202020204" pitchFamily="34" charset="0"/>
              </a:rPr>
              <a:t>taken</a:t>
            </a:r>
            <a:r>
              <a:rPr lang="fr-FR" sz="2400" dirty="0">
                <a:latin typeface="Century Gothic" panose="020B0502020202020204" pitchFamily="34" charset="0"/>
              </a:rPr>
              <a:t> care of 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or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benefiting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from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beter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quality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</a:rPr>
              <a:t>healthcare</a:t>
            </a: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endParaRPr lang="fr-FR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fr-FR" dirty="0">
              <a:latin typeface="Century Gothic" panose="020B0502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3</a:t>
            </a:fld>
            <a:endParaRPr lang="fr-FR"/>
          </a:p>
        </p:txBody>
      </p:sp>
      <p:sp>
        <p:nvSpPr>
          <p:cNvPr id="6" name="Forme en L 5"/>
          <p:cNvSpPr>
            <a:spLocks/>
          </p:cNvSpPr>
          <p:nvPr/>
        </p:nvSpPr>
        <p:spPr>
          <a:xfrm rot="5400000">
            <a:off x="4734033" y="856287"/>
            <a:ext cx="1021650" cy="781474"/>
          </a:xfrm>
          <a:prstGeom prst="corner">
            <a:avLst>
              <a:gd name="adj1" fmla="val 22461"/>
              <a:gd name="adj2" fmla="val 2171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orme en L 6"/>
          <p:cNvSpPr>
            <a:spLocks/>
          </p:cNvSpPr>
          <p:nvPr/>
        </p:nvSpPr>
        <p:spPr>
          <a:xfrm rot="5400000" flipH="1" flipV="1">
            <a:off x="11068479" y="5468244"/>
            <a:ext cx="742899" cy="576442"/>
          </a:xfrm>
          <a:prstGeom prst="corner">
            <a:avLst>
              <a:gd name="adj1" fmla="val 16844"/>
              <a:gd name="adj2" fmla="val 1783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07" r="28709"/>
          <a:stretch/>
        </p:blipFill>
        <p:spPr>
          <a:xfrm>
            <a:off x="127804" y="0"/>
            <a:ext cx="432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13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0" y="0"/>
            <a:ext cx="6230024" cy="6858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4</a:t>
            </a:fld>
            <a:endParaRPr lang="fr-FR"/>
          </a:p>
        </p:txBody>
      </p:sp>
      <p:grpSp>
        <p:nvGrpSpPr>
          <p:cNvPr id="5" name="Groupe 4"/>
          <p:cNvGrpSpPr/>
          <p:nvPr/>
        </p:nvGrpSpPr>
        <p:grpSpPr>
          <a:xfrm>
            <a:off x="6378260" y="1463733"/>
            <a:ext cx="3270599" cy="4414972"/>
            <a:chOff x="5725244" y="2206674"/>
            <a:chExt cx="3270599" cy="4414972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19" t="3260" r="16185" b="6276"/>
            <a:stretch/>
          </p:blipFill>
          <p:spPr>
            <a:xfrm>
              <a:off x="5725244" y="4461646"/>
              <a:ext cx="2412000" cy="2160000"/>
            </a:xfrm>
            <a:prstGeom prst="ellipse">
              <a:avLst/>
            </a:prstGeom>
            <a:ln w="3175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12699" r="55761" b="25319"/>
            <a:stretch/>
          </p:blipFill>
          <p:spPr>
            <a:xfrm>
              <a:off x="6583843" y="2206674"/>
              <a:ext cx="2412000" cy="2160000"/>
            </a:xfrm>
            <a:prstGeom prst="ellipse">
              <a:avLst/>
            </a:prstGeom>
            <a:ln w="3175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1" r="18138" b="6615"/>
          <a:stretch/>
        </p:blipFill>
        <p:spPr>
          <a:xfrm>
            <a:off x="3652773" y="3714066"/>
            <a:ext cx="2412000" cy="21600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5" name="Rectangle 14"/>
          <p:cNvSpPr/>
          <p:nvPr/>
        </p:nvSpPr>
        <p:spPr>
          <a:xfrm>
            <a:off x="2935369" y="278973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A focus on the </a:t>
            </a:r>
            <a:r>
              <a:rPr lang="fr-FR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rson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532563" y="2213354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The </a:t>
            </a:r>
            <a:r>
              <a:rPr lang="fr-FR" b="1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daring</a:t>
            </a:r>
            <a:r>
              <a:rPr lang="fr-FR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 to </a:t>
            </a:r>
            <a:r>
              <a:rPr lang="fr-FR" b="1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undertake</a:t>
            </a:r>
            <a:endParaRPr lang="fr-FR" b="1" dirty="0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5564" y="2109709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A spirit of servic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323642" y="4468616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A </a:t>
            </a:r>
            <a:r>
              <a:rPr lang="fr-FR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fessional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fr-FR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ommitment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938496" y="4498201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The patience to </a:t>
            </a:r>
            <a:r>
              <a:rPr lang="fr-FR" b="1" dirty="0" err="1">
                <a:solidFill>
                  <a:schemeClr val="accent2"/>
                </a:solidFill>
                <a:latin typeface="Century Gothic" panose="020B0502020202020204" pitchFamily="34" charset="0"/>
              </a:rPr>
              <a:t>implement</a:t>
            </a:r>
            <a:endParaRPr lang="fr-FR" b="1" dirty="0">
              <a:solidFill>
                <a:schemeClr val="accent2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6493" y="5987903"/>
            <a:ext cx="6103531" cy="870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3 VALUES…</a:t>
            </a:r>
            <a:endParaRPr lang="fr-FR" sz="44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230024" y="5978692"/>
            <a:ext cx="5961976" cy="974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96000" rtlCol="0" anchor="ctr"/>
          <a:lstStyle/>
          <a:p>
            <a:pPr algn="r"/>
            <a:r>
              <a:rPr lang="fr-FR" sz="3200" dirty="0">
                <a:solidFill>
                  <a:schemeClr val="bg1"/>
                </a:solidFill>
                <a:latin typeface="Century Gothic" panose="020B0502020202020204" pitchFamily="34" charset="0"/>
              </a:rPr>
              <a:t>…2 VIRTUES</a:t>
            </a:r>
            <a:endParaRPr lang="fr-FR" sz="3200" dirty="0">
              <a:solidFill>
                <a:schemeClr val="bg1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8" r="3891"/>
          <a:stretch/>
        </p:blipFill>
        <p:spPr>
          <a:xfrm>
            <a:off x="5024024" y="149633"/>
            <a:ext cx="2412000" cy="2160000"/>
          </a:xfrm>
          <a:prstGeom prst="ellipse">
            <a:avLst/>
          </a:prstGeom>
          <a:ln w="3175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5" r="10625"/>
          <a:stretch/>
        </p:blipFill>
        <p:spPr>
          <a:xfrm>
            <a:off x="2852500" y="1502813"/>
            <a:ext cx="2412000" cy="21600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651" y="149633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43" b="36021"/>
          <a:stretch/>
        </p:blipFill>
        <p:spPr>
          <a:xfrm>
            <a:off x="413024" y="3024847"/>
            <a:ext cx="4230000" cy="143640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5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7" r="253" b="52622"/>
          <a:stretch/>
        </p:blipFill>
        <p:spPr>
          <a:xfrm>
            <a:off x="413024" y="4505768"/>
            <a:ext cx="4198731" cy="1423947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26493" y="5963478"/>
            <a:ext cx="12047035" cy="894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THE B</a:t>
            </a:r>
            <a:r>
              <a:rPr lang="fr-FR" sz="3200" dirty="0">
                <a:solidFill>
                  <a:schemeClr val="accent2"/>
                </a:solidFill>
                <a:latin typeface="Century Gothic" panose="020B0502020202020204" pitchFamily="34" charset="0"/>
              </a:rPr>
              <a:t>E</a:t>
            </a:r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N</a:t>
            </a:r>
            <a:r>
              <a:rPr lang="fr-FR" sz="3200" dirty="0">
                <a:solidFill>
                  <a:schemeClr val="accent2"/>
                </a:solidFill>
                <a:latin typeface="Century Gothic" panose="020B0502020202020204" pitchFamily="34" charset="0"/>
              </a:rPr>
              <a:t>E</a:t>
            </a:r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FICIARIES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6943"/>
          <a:stretch/>
        </p:blipFill>
        <p:spPr>
          <a:xfrm>
            <a:off x="413024" y="1534611"/>
            <a:ext cx="4215600" cy="144000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0" b="38397"/>
          <a:stretch/>
        </p:blipFill>
        <p:spPr>
          <a:xfrm>
            <a:off x="413024" y="60848"/>
            <a:ext cx="4215600" cy="1440000"/>
          </a:xfrm>
          <a:prstGeom prst="rect">
            <a:avLst/>
          </a:prstGeom>
        </p:spPr>
      </p:pic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2103645031"/>
              </p:ext>
            </p:extLst>
          </p:nvPr>
        </p:nvGraphicFramePr>
        <p:xfrm>
          <a:off x="4064000" y="198836"/>
          <a:ext cx="775122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Rectangle 3"/>
          <p:cNvSpPr/>
          <p:nvPr/>
        </p:nvSpPr>
        <p:spPr>
          <a:xfrm>
            <a:off x="3779520" y="553850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2,000</a:t>
            </a:r>
            <a:endParaRPr lang="fr-FR" sz="2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331654" y="2010731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,000</a:t>
            </a:r>
            <a:endParaRPr lang="fr-FR" sz="2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221048" y="3270925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,000</a:t>
            </a:r>
            <a:endParaRPr lang="fr-FR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315574" y="5427663"/>
            <a:ext cx="6626139" cy="594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71,000</a:t>
            </a:r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people </a:t>
            </a:r>
            <a:r>
              <a:rPr lang="fr-FR" sz="13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benefiting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3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from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3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better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3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quality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3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health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 care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814652" y="4416725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,000</a:t>
            </a:r>
            <a:endParaRPr lang="fr-FR" sz="16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867096" y="4471683"/>
            <a:ext cx="2661780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aken</a:t>
            </a:r>
            <a:r>
              <a:rPr lang="fr-FR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 care of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759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6</a:t>
            </a:fld>
            <a:endParaRPr lang="fr-FR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1085847433"/>
              </p:ext>
            </p:extLst>
          </p:nvPr>
        </p:nvGraphicFramePr>
        <p:xfrm>
          <a:off x="834887" y="0"/>
          <a:ext cx="10783955" cy="6838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>
          <a:xfrm>
            <a:off x="116333" y="6099178"/>
            <a:ext cx="11760635" cy="782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4 CORE ACTIONS</a:t>
            </a:r>
          </a:p>
        </p:txBody>
      </p:sp>
      <p:sp>
        <p:nvSpPr>
          <p:cNvPr id="9" name="Ellipse 8"/>
          <p:cNvSpPr/>
          <p:nvPr/>
        </p:nvSpPr>
        <p:spPr>
          <a:xfrm>
            <a:off x="1034773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4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10" name="Ellipse 9"/>
          <p:cNvSpPr/>
          <p:nvPr/>
        </p:nvSpPr>
        <p:spPr>
          <a:xfrm>
            <a:off x="3726069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1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11" name="Ellipse 10"/>
          <p:cNvSpPr/>
          <p:nvPr/>
        </p:nvSpPr>
        <p:spPr>
          <a:xfrm>
            <a:off x="6417365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4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12" name="Ellipse 11"/>
          <p:cNvSpPr/>
          <p:nvPr/>
        </p:nvSpPr>
        <p:spPr>
          <a:xfrm>
            <a:off x="9108661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1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OF THE ACTIVITY</a:t>
            </a:r>
          </a:p>
        </p:txBody>
      </p:sp>
      <p:sp>
        <p:nvSpPr>
          <p:cNvPr id="2" name="Rectangle 1"/>
          <p:cNvSpPr/>
          <p:nvPr/>
        </p:nvSpPr>
        <p:spPr>
          <a:xfrm>
            <a:off x="11618842" y="6334125"/>
            <a:ext cx="897008" cy="6572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3789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roupe 5"/>
          <p:cNvGrpSpPr>
            <a:grpSpLocks noChangeAspect="1"/>
          </p:cNvGrpSpPr>
          <p:nvPr/>
        </p:nvGrpSpPr>
        <p:grpSpPr bwMode="auto">
          <a:xfrm>
            <a:off x="1997642" y="561776"/>
            <a:ext cx="9270976" cy="5592700"/>
            <a:chOff x="3289783" y="2969253"/>
            <a:chExt cx="5530689" cy="3335550"/>
          </a:xfrm>
        </p:grpSpPr>
        <p:sp>
          <p:nvSpPr>
            <p:cNvPr id="99" name="Freeform 1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589134" y="2969253"/>
              <a:ext cx="1972278" cy="1237351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2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679141" y="4216064"/>
              <a:ext cx="320158" cy="542997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31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899936" y="3281428"/>
              <a:ext cx="630543" cy="297041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3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64519" y="4477156"/>
              <a:ext cx="457022" cy="344339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33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362264" y="4316339"/>
              <a:ext cx="234620" cy="202441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3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863276" y="3989027"/>
              <a:ext cx="29328" cy="68111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3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6046574" y="3994703"/>
              <a:ext cx="21995" cy="68111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104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498288" y="4473372"/>
              <a:ext cx="9776" cy="68111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1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578520" y="3709014"/>
              <a:ext cx="2443" cy="7189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11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990362" y="4511212"/>
              <a:ext cx="39103" cy="66220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11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533342" y="4346610"/>
              <a:ext cx="29328" cy="70002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5" name="Group 117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721108" y="4569863"/>
              <a:ext cx="70874" cy="446506"/>
              <a:chOff x="3950" y="2430"/>
              <a:chExt cx="36" cy="234"/>
            </a:xfrm>
          </p:grpSpPr>
          <p:sp>
            <p:nvSpPr>
              <p:cNvPr id="26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fr-FR" altLang="fr-FR" sz="1800"/>
              </a:p>
            </p:txBody>
          </p:sp>
          <p:sp>
            <p:nvSpPr>
              <p:cNvPr id="27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fr-FR" altLang="fr-FR" sz="1800"/>
              </a:p>
            </p:txBody>
          </p:sp>
          <p:sp>
            <p:nvSpPr>
              <p:cNvPr id="28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2" name="Freeform 15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274700" y="4853660"/>
              <a:ext cx="17109" cy="66219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16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57390" y="5020153"/>
              <a:ext cx="21996" cy="68111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23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220514" y="3718475"/>
              <a:ext cx="51322" cy="157033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233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5142307" y="3780909"/>
              <a:ext cx="107534" cy="155142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23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316666" y="3977675"/>
              <a:ext cx="471686" cy="465426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23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495076" y="4049570"/>
              <a:ext cx="637874" cy="55813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23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646602" y="3580360"/>
              <a:ext cx="760072" cy="690571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23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318691" y="3741179"/>
              <a:ext cx="591439" cy="52029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239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245372" y="3580360"/>
              <a:ext cx="144195" cy="281905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1" name="Freeform 24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294671" y="3951187"/>
              <a:ext cx="356819" cy="257309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2" name="Freeform 246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115423" y="3640903"/>
              <a:ext cx="78207" cy="68111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24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4511765" y="4584999"/>
              <a:ext cx="501012" cy="291364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24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414006" y="4785548"/>
              <a:ext cx="769848" cy="658407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5" name="Freeform 24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316248" y="4904742"/>
              <a:ext cx="85538" cy="66220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6" name="Freeform 25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289364" y="4904742"/>
              <a:ext cx="234620" cy="240281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7" name="Freeform 25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110535" y="5387196"/>
              <a:ext cx="400810" cy="620568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8" name="Freeform 25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702394" y="5672884"/>
              <a:ext cx="366594" cy="34244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9" name="Freeform 25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584664" y="5436388"/>
              <a:ext cx="303051" cy="518401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chemeClr val="accent4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0" name="Freeform 25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086096" y="5076913"/>
              <a:ext cx="56212" cy="79463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1" name="Freeform 25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5068989" y="5029613"/>
              <a:ext cx="85538" cy="71895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2" name="Freeform 25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545561" y="3480086"/>
              <a:ext cx="774737" cy="563808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3" name="Freeform 25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582221" y="4263363"/>
              <a:ext cx="381258" cy="272444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" name="Freeform 25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5882828" y="3994703"/>
              <a:ext cx="185741" cy="143790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5" name="Freeform 259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401397" y="3580770"/>
              <a:ext cx="342193" cy="313599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6" name="Freeform 260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171215" y="3533061"/>
              <a:ext cx="510789" cy="346231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7" name="Freeform 261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6220094" y="3591712"/>
              <a:ext cx="562112" cy="505158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8" name="Freeform 262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437443" y="3911474"/>
              <a:ext cx="339341" cy="698470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9" name="Freeform 263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316666" y="4518779"/>
              <a:ext cx="124643" cy="70004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0" name="Freeform 264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3446197" y="4617162"/>
              <a:ext cx="114866" cy="119195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1" name="Freeform 265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512183" y="4677705"/>
              <a:ext cx="161302" cy="157034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2" name="Freeform 266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842119" y="4581215"/>
              <a:ext cx="161302" cy="240280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3" name="Freeform 267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306890" y="4480940"/>
              <a:ext cx="134419" cy="70004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" name="Freeform 268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961872" y="4573647"/>
              <a:ext cx="65988" cy="185414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" name="Freeform 269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00976" y="4528240"/>
              <a:ext cx="117310" cy="225144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6" name="Freeform 270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5122756" y="5964248"/>
              <a:ext cx="39103" cy="71895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7" name="Freeform 271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4961454" y="6079659"/>
              <a:ext cx="95314" cy="6811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8" name="Freeform 272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8375670" y="3355216"/>
              <a:ext cx="185741" cy="204333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9" name="Freeform 273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6945952" y="3849020"/>
              <a:ext cx="317715" cy="147574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0" name="Freeform 274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7278331" y="3915240"/>
              <a:ext cx="112422" cy="77570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1" name="Freeform 275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263668" y="4000378"/>
              <a:ext cx="205293" cy="19865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2" name="Freeform 276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752460" y="4138493"/>
              <a:ext cx="310383" cy="321636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3" name="Freeform 277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879546" y="4437425"/>
              <a:ext cx="205293" cy="155142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" name="Freeform 278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497868" y="3527385"/>
              <a:ext cx="131974" cy="155142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5" name="Freeform 28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014383" y="4617162"/>
              <a:ext cx="97759" cy="141899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76" name="Group 282"/>
            <p:cNvGrpSpPr>
              <a:grpSpLocks/>
            </p:cNvGrpSpPr>
            <p:nvPr>
              <p:custDataLst>
                <p:tags r:id="rId57"/>
              </p:custDataLst>
            </p:nvPr>
          </p:nvGrpSpPr>
          <p:grpSpPr bwMode="auto">
            <a:xfrm>
              <a:off x="8461210" y="4272823"/>
              <a:ext cx="359262" cy="524078"/>
              <a:chOff x="5062" y="2295"/>
              <a:chExt cx="177" cy="279"/>
            </a:xfrm>
          </p:grpSpPr>
          <p:sp>
            <p:nvSpPr>
              <p:cNvPr id="24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0 w 126"/>
                  <a:gd name="T7" fmla="*/ 0 h 166"/>
                  <a:gd name="T8" fmla="*/ 0 w 126"/>
                  <a:gd name="T9" fmla="*/ 0 h 166"/>
                  <a:gd name="T10" fmla="*/ 0 w 126"/>
                  <a:gd name="T11" fmla="*/ 0 h 166"/>
                  <a:gd name="T12" fmla="*/ 0 w 126"/>
                  <a:gd name="T13" fmla="*/ 0 h 166"/>
                  <a:gd name="T14" fmla="*/ 0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0 h 166"/>
                  <a:gd name="T28" fmla="*/ 0 w 126"/>
                  <a:gd name="T29" fmla="*/ 0 h 166"/>
                  <a:gd name="T30" fmla="*/ 0 w 126"/>
                  <a:gd name="T31" fmla="*/ 0 h 166"/>
                  <a:gd name="T32" fmla="*/ 0 w 126"/>
                  <a:gd name="T33" fmla="*/ 0 h 166"/>
                  <a:gd name="T34" fmla="*/ 0 w 126"/>
                  <a:gd name="T35" fmla="*/ 0 h 166"/>
                  <a:gd name="T36" fmla="*/ 0 w 126"/>
                  <a:gd name="T37" fmla="*/ 0 h 166"/>
                  <a:gd name="T38" fmla="*/ 0 w 126"/>
                  <a:gd name="T39" fmla="*/ 0 h 166"/>
                  <a:gd name="T40" fmla="*/ 0 w 126"/>
                  <a:gd name="T41" fmla="*/ 0 h 166"/>
                  <a:gd name="T42" fmla="*/ 0 w 126"/>
                  <a:gd name="T43" fmla="*/ 0 h 166"/>
                  <a:gd name="T44" fmla="*/ 0 w 126"/>
                  <a:gd name="T45" fmla="*/ 0 h 166"/>
                  <a:gd name="T46" fmla="*/ 0 w 126"/>
                  <a:gd name="T47" fmla="*/ 0 h 166"/>
                  <a:gd name="T48" fmla="*/ 0 w 126"/>
                  <a:gd name="T49" fmla="*/ 0 h 166"/>
                  <a:gd name="T50" fmla="*/ 0 w 126"/>
                  <a:gd name="T51" fmla="*/ 0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0 h 259"/>
                  <a:gd name="T2" fmla="*/ 0 w 259"/>
                  <a:gd name="T3" fmla="*/ 0 h 259"/>
                  <a:gd name="T4" fmla="*/ 0 w 259"/>
                  <a:gd name="T5" fmla="*/ 0 h 259"/>
                  <a:gd name="T6" fmla="*/ 0 w 259"/>
                  <a:gd name="T7" fmla="*/ 0 h 259"/>
                  <a:gd name="T8" fmla="*/ 0 w 259"/>
                  <a:gd name="T9" fmla="*/ 0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0 w 259"/>
                  <a:gd name="T29" fmla="*/ 0 h 259"/>
                  <a:gd name="T30" fmla="*/ 0 w 259"/>
                  <a:gd name="T31" fmla="*/ 0 h 259"/>
                  <a:gd name="T32" fmla="*/ 0 w 259"/>
                  <a:gd name="T33" fmla="*/ 0 h 259"/>
                  <a:gd name="T34" fmla="*/ 0 w 259"/>
                  <a:gd name="T35" fmla="*/ 0 h 259"/>
                  <a:gd name="T36" fmla="*/ 0 w 259"/>
                  <a:gd name="T37" fmla="*/ 0 h 259"/>
                  <a:gd name="T38" fmla="*/ 0 w 259"/>
                  <a:gd name="T39" fmla="*/ 0 h 259"/>
                  <a:gd name="T40" fmla="*/ 0 w 259"/>
                  <a:gd name="T41" fmla="*/ 0 h 259"/>
                  <a:gd name="T42" fmla="*/ 0 w 259"/>
                  <a:gd name="T43" fmla="*/ 0 h 259"/>
                  <a:gd name="T44" fmla="*/ 0 w 259"/>
                  <a:gd name="T45" fmla="*/ 0 h 259"/>
                  <a:gd name="T46" fmla="*/ 0 w 259"/>
                  <a:gd name="T47" fmla="*/ 0 h 259"/>
                  <a:gd name="T48" fmla="*/ 0 w 259"/>
                  <a:gd name="T49" fmla="*/ 0 h 259"/>
                  <a:gd name="T50" fmla="*/ 0 w 259"/>
                  <a:gd name="T51" fmla="*/ 0 h 259"/>
                  <a:gd name="T52" fmla="*/ 0 w 259"/>
                  <a:gd name="T53" fmla="*/ 0 h 259"/>
                  <a:gd name="T54" fmla="*/ 0 w 259"/>
                  <a:gd name="T55" fmla="*/ 0 h 259"/>
                  <a:gd name="T56" fmla="*/ 0 w 259"/>
                  <a:gd name="T57" fmla="*/ 0 h 259"/>
                  <a:gd name="T58" fmla="*/ 0 w 259"/>
                  <a:gd name="T59" fmla="*/ 0 h 259"/>
                  <a:gd name="T60" fmla="*/ 0 w 259"/>
                  <a:gd name="T61" fmla="*/ 0 h 259"/>
                  <a:gd name="T62" fmla="*/ 0 w 259"/>
                  <a:gd name="T63" fmla="*/ 0 h 259"/>
                  <a:gd name="T64" fmla="*/ 0 w 259"/>
                  <a:gd name="T65" fmla="*/ 0 h 259"/>
                  <a:gd name="T66" fmla="*/ 0 w 259"/>
                  <a:gd name="T67" fmla="*/ 0 h 259"/>
                  <a:gd name="T68" fmla="*/ 0 w 259"/>
                  <a:gd name="T69" fmla="*/ 0 h 259"/>
                  <a:gd name="T70" fmla="*/ 0 w 259"/>
                  <a:gd name="T71" fmla="*/ 0 h 259"/>
                  <a:gd name="T72" fmla="*/ 0 w 259"/>
                  <a:gd name="T73" fmla="*/ 0 h 259"/>
                  <a:gd name="T74" fmla="*/ 0 w 259"/>
                  <a:gd name="T75" fmla="*/ 0 h 259"/>
                  <a:gd name="T76" fmla="*/ 0 w 259"/>
                  <a:gd name="T77" fmla="*/ 0 h 259"/>
                  <a:gd name="T78" fmla="*/ 0 w 259"/>
                  <a:gd name="T79" fmla="*/ 0 h 259"/>
                  <a:gd name="T80" fmla="*/ 0 w 259"/>
                  <a:gd name="T81" fmla="*/ 0 h 259"/>
                  <a:gd name="T82" fmla="*/ 0 w 259"/>
                  <a:gd name="T83" fmla="*/ 0 h 259"/>
                  <a:gd name="T84" fmla="*/ 0 w 259"/>
                  <a:gd name="T85" fmla="*/ 0 h 259"/>
                  <a:gd name="T86" fmla="*/ 0 w 259"/>
                  <a:gd name="T87" fmla="*/ 0 h 259"/>
                  <a:gd name="T88" fmla="*/ 0 w 259"/>
                  <a:gd name="T89" fmla="*/ 0 h 259"/>
                  <a:gd name="T90" fmla="*/ 0 w 259"/>
                  <a:gd name="T91" fmla="*/ 0 h 259"/>
                  <a:gd name="T92" fmla="*/ 0 w 259"/>
                  <a:gd name="T93" fmla="*/ 0 h 259"/>
                  <a:gd name="T94" fmla="*/ 0 w 259"/>
                  <a:gd name="T95" fmla="*/ 0 h 259"/>
                  <a:gd name="T96" fmla="*/ 0 w 259"/>
                  <a:gd name="T97" fmla="*/ 0 h 259"/>
                  <a:gd name="T98" fmla="*/ 0 w 259"/>
                  <a:gd name="T99" fmla="*/ 0 h 259"/>
                  <a:gd name="T100" fmla="*/ 0 w 259"/>
                  <a:gd name="T101" fmla="*/ 0 h 259"/>
                  <a:gd name="T102" fmla="*/ 0 w 259"/>
                  <a:gd name="T103" fmla="*/ 0 h 259"/>
                  <a:gd name="T104" fmla="*/ 0 w 259"/>
                  <a:gd name="T105" fmla="*/ 0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0 w 152"/>
                  <a:gd name="T17" fmla="*/ 0 h 296"/>
                  <a:gd name="T18" fmla="*/ 0 w 152"/>
                  <a:gd name="T19" fmla="*/ 0 h 296"/>
                  <a:gd name="T20" fmla="*/ 0 w 152"/>
                  <a:gd name="T21" fmla="*/ 0 h 296"/>
                  <a:gd name="T22" fmla="*/ 0 w 152"/>
                  <a:gd name="T23" fmla="*/ 0 h 296"/>
                  <a:gd name="T24" fmla="*/ 0 w 152"/>
                  <a:gd name="T25" fmla="*/ 0 h 296"/>
                  <a:gd name="T26" fmla="*/ 0 w 152"/>
                  <a:gd name="T27" fmla="*/ 0 h 296"/>
                  <a:gd name="T28" fmla="*/ 0 w 152"/>
                  <a:gd name="T29" fmla="*/ 0 h 296"/>
                  <a:gd name="T30" fmla="*/ 0 w 152"/>
                  <a:gd name="T31" fmla="*/ 0 h 296"/>
                  <a:gd name="T32" fmla="*/ 0 w 152"/>
                  <a:gd name="T33" fmla="*/ 0 h 296"/>
                  <a:gd name="T34" fmla="*/ 0 w 152"/>
                  <a:gd name="T35" fmla="*/ 0 h 296"/>
                  <a:gd name="T36" fmla="*/ 0 w 152"/>
                  <a:gd name="T37" fmla="*/ 0 h 296"/>
                  <a:gd name="T38" fmla="*/ 0 w 152"/>
                  <a:gd name="T39" fmla="*/ 0 h 296"/>
                  <a:gd name="T40" fmla="*/ 0 w 152"/>
                  <a:gd name="T41" fmla="*/ 0 h 296"/>
                  <a:gd name="T42" fmla="*/ 0 w 152"/>
                  <a:gd name="T43" fmla="*/ 0 h 296"/>
                  <a:gd name="T44" fmla="*/ 0 w 152"/>
                  <a:gd name="T45" fmla="*/ 0 h 296"/>
                  <a:gd name="T46" fmla="*/ 0 w 152"/>
                  <a:gd name="T47" fmla="*/ 0 h 296"/>
                  <a:gd name="T48" fmla="*/ 0 w 152"/>
                  <a:gd name="T49" fmla="*/ 0 h 296"/>
                  <a:gd name="T50" fmla="*/ 0 w 152"/>
                  <a:gd name="T51" fmla="*/ 0 h 296"/>
                  <a:gd name="T52" fmla="*/ 0 w 152"/>
                  <a:gd name="T53" fmla="*/ 0 h 296"/>
                  <a:gd name="T54" fmla="*/ 0 w 152"/>
                  <a:gd name="T55" fmla="*/ 0 h 296"/>
                  <a:gd name="T56" fmla="*/ 0 w 152"/>
                  <a:gd name="T57" fmla="*/ 0 h 296"/>
                  <a:gd name="T58" fmla="*/ 0 w 152"/>
                  <a:gd name="T59" fmla="*/ 0 h 296"/>
                  <a:gd name="T60" fmla="*/ 0 w 152"/>
                  <a:gd name="T61" fmla="*/ 0 h 296"/>
                  <a:gd name="T62" fmla="*/ 0 w 152"/>
                  <a:gd name="T63" fmla="*/ 0 h 296"/>
                  <a:gd name="T64" fmla="*/ 0 w 152"/>
                  <a:gd name="T65" fmla="*/ 0 h 296"/>
                  <a:gd name="T66" fmla="*/ 0 w 152"/>
                  <a:gd name="T67" fmla="*/ 0 h 296"/>
                  <a:gd name="T68" fmla="*/ 0 w 152"/>
                  <a:gd name="T69" fmla="*/ 0 h 296"/>
                  <a:gd name="T70" fmla="*/ 0 w 152"/>
                  <a:gd name="T71" fmla="*/ 0 h 296"/>
                  <a:gd name="T72" fmla="*/ 0 w 152"/>
                  <a:gd name="T73" fmla="*/ 0 h 296"/>
                  <a:gd name="T74" fmla="*/ 0 w 152"/>
                  <a:gd name="T75" fmla="*/ 0 h 296"/>
                  <a:gd name="T76" fmla="*/ 0 w 152"/>
                  <a:gd name="T77" fmla="*/ 0 h 296"/>
                  <a:gd name="T78" fmla="*/ 0 w 152"/>
                  <a:gd name="T79" fmla="*/ 0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77" name="Freeform 341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6791982" y="3637119"/>
              <a:ext cx="83095" cy="7189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8" name="Freeform 34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508902" y="3434679"/>
              <a:ext cx="73319" cy="75679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9" name="Freeform 35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344737" y="3451706"/>
              <a:ext cx="320158" cy="145683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0" name="Freeform 35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6420499" y="3366568"/>
              <a:ext cx="347043" cy="149465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1" name="Freeform 35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814397" y="3385487"/>
              <a:ext cx="527896" cy="27055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2" name="Freeform 355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800153" y="4123357"/>
              <a:ext cx="632986" cy="728410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3" name="Freeform 356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545561" y="4528240"/>
              <a:ext cx="376370" cy="514617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4" name="Freeform 357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5557781" y="4513104"/>
              <a:ext cx="58655" cy="70002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5" name="Freeform 358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5247397" y="4407154"/>
              <a:ext cx="559668" cy="448397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6" name="Freeform 366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6029465" y="5797754"/>
              <a:ext cx="29328" cy="70004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7" name="Freeform 367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985474" y="5829918"/>
              <a:ext cx="36660" cy="68111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88" name="Group 368"/>
            <p:cNvGrpSpPr>
              <a:grpSpLocks/>
            </p:cNvGrpSpPr>
            <p:nvPr>
              <p:custDataLst>
                <p:tags r:id="rId69"/>
              </p:custDataLst>
            </p:nvPr>
          </p:nvGrpSpPr>
          <p:grpSpPr bwMode="auto">
            <a:xfrm>
              <a:off x="5741078" y="5224487"/>
              <a:ext cx="259060" cy="122978"/>
              <a:chOff x="3481" y="2773"/>
              <a:chExt cx="125" cy="65"/>
            </a:xfrm>
          </p:grpSpPr>
          <p:sp>
            <p:nvSpPr>
              <p:cNvPr id="234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6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7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8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0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1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2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3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4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89" name="Freeform 38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399343" y="5215026"/>
              <a:ext cx="491236" cy="45218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0" name="Freeform 38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416450" y="5182863"/>
              <a:ext cx="24440" cy="71895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1" name="Freeform 38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572863" y="5829918"/>
              <a:ext cx="610991" cy="474885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2" name="Freeform 38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4800153" y="4123357"/>
              <a:ext cx="632986" cy="728410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3" name="Freeform 434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108092" y="4846092"/>
              <a:ext cx="195517" cy="189197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4" name="Freeform 43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5271837" y="5025829"/>
              <a:ext cx="9776" cy="68111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5" name="Freeform 436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487325" y="4115789"/>
              <a:ext cx="383701" cy="595971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6" name="Freeform 442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43117" y="3394947"/>
              <a:ext cx="190629" cy="130547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7" name="Freeform 44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3754136" y="4427965"/>
              <a:ext cx="273724" cy="196765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8" name="Freeform 44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289364" y="4509320"/>
              <a:ext cx="298164" cy="416234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1022C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9" name="Freeform 44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062843" y="4221740"/>
              <a:ext cx="85539" cy="68111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0" name="Freeform 45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4379791" y="4855551"/>
              <a:ext cx="288388" cy="327312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1022C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1" name="Freeform 457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4871027" y="3797938"/>
              <a:ext cx="420362" cy="367043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2" name="Freeform 460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5357376" y="3345755"/>
              <a:ext cx="232176" cy="98383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3" name="Freeform 462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792820" y="3646580"/>
              <a:ext cx="107534" cy="68111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4" name="Freeform 463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375321" y="4518779"/>
              <a:ext cx="288388" cy="189197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5" name="Freeform 464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523146" y="3640903"/>
              <a:ext cx="1065568" cy="1042479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6" name="Freeform 465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631938" y="4588783"/>
              <a:ext cx="244396" cy="245957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1022C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7" name="Freeform 466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277352" y="4820910"/>
              <a:ext cx="295142" cy="323577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08" name="Freeform 467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249842" y="3731718"/>
              <a:ext cx="156414" cy="155142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9" name="Freeform 468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09307" y="3854697"/>
              <a:ext cx="34215" cy="66219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0" name="Freeform 47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244954" y="3682527"/>
              <a:ext cx="46435" cy="68111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1" name="Freeform 47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961454" y="6079659"/>
              <a:ext cx="95314" cy="6811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2" name="Freeform 474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230290" y="5347464"/>
              <a:ext cx="107534" cy="287580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3" name="Freeform 475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448222" y="3644687"/>
              <a:ext cx="21995" cy="68111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4" name="Freeform 476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4939458" y="5576394"/>
              <a:ext cx="290832" cy="259200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5" name="Freeform 477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4805041" y="5309625"/>
              <a:ext cx="452132" cy="357584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6" name="Freeform 478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4399343" y="5635044"/>
              <a:ext cx="540115" cy="454074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7" name="Freeform 479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289783" y="4359854"/>
              <a:ext cx="249284" cy="168386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8" name="Freeform 480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5095871" y="5029613"/>
              <a:ext cx="415474" cy="399207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9" name="Freeform 527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5247397" y="3769558"/>
              <a:ext cx="816284" cy="609216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0" name="Freeform 530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409537" y="3892536"/>
              <a:ext cx="43991" cy="68111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1" name="Freeform 531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319111" y="3911456"/>
              <a:ext cx="36659" cy="71895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2" name="Freeform 533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5237621" y="3580360"/>
              <a:ext cx="268836" cy="18919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3" name="Freeform 534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8461210" y="4034434"/>
              <a:ext cx="65986" cy="94599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224" name="Group 535"/>
            <p:cNvGrpSpPr>
              <a:grpSpLocks/>
            </p:cNvGrpSpPr>
            <p:nvPr>
              <p:custDataLst>
                <p:tags r:id="rId105"/>
              </p:custDataLst>
            </p:nvPr>
          </p:nvGrpSpPr>
          <p:grpSpPr bwMode="auto">
            <a:xfrm>
              <a:off x="4839256" y="3400623"/>
              <a:ext cx="742965" cy="240280"/>
              <a:chOff x="3289" y="1830"/>
              <a:chExt cx="363" cy="128"/>
            </a:xfrm>
          </p:grpSpPr>
          <p:sp>
            <p:nvSpPr>
              <p:cNvPr id="229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0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1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2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3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0 w 1070"/>
                  <a:gd name="T1" fmla="*/ 0 h 382"/>
                  <a:gd name="T2" fmla="*/ 0 w 1070"/>
                  <a:gd name="T3" fmla="*/ 0 h 382"/>
                  <a:gd name="T4" fmla="*/ 0 w 1070"/>
                  <a:gd name="T5" fmla="*/ 0 h 382"/>
                  <a:gd name="T6" fmla="*/ 0 w 1070"/>
                  <a:gd name="T7" fmla="*/ 0 h 382"/>
                  <a:gd name="T8" fmla="*/ 0 w 1070"/>
                  <a:gd name="T9" fmla="*/ 0 h 382"/>
                  <a:gd name="T10" fmla="*/ 0 w 1070"/>
                  <a:gd name="T11" fmla="*/ 0 h 382"/>
                  <a:gd name="T12" fmla="*/ 0 w 1070"/>
                  <a:gd name="T13" fmla="*/ 0 h 382"/>
                  <a:gd name="T14" fmla="*/ 0 w 1070"/>
                  <a:gd name="T15" fmla="*/ 0 h 382"/>
                  <a:gd name="T16" fmla="*/ 0 w 1070"/>
                  <a:gd name="T17" fmla="*/ 0 h 382"/>
                  <a:gd name="T18" fmla="*/ 0 w 1070"/>
                  <a:gd name="T19" fmla="*/ 0 h 382"/>
                  <a:gd name="T20" fmla="*/ 0 w 1070"/>
                  <a:gd name="T21" fmla="*/ 0 h 382"/>
                  <a:gd name="T22" fmla="*/ 0 w 1070"/>
                  <a:gd name="T23" fmla="*/ 0 h 382"/>
                  <a:gd name="T24" fmla="*/ 0 w 1070"/>
                  <a:gd name="T25" fmla="*/ 0 h 382"/>
                  <a:gd name="T26" fmla="*/ 0 w 1070"/>
                  <a:gd name="T27" fmla="*/ 0 h 382"/>
                  <a:gd name="T28" fmla="*/ 0 w 1070"/>
                  <a:gd name="T29" fmla="*/ 0 h 382"/>
                  <a:gd name="T30" fmla="*/ 0 w 1070"/>
                  <a:gd name="T31" fmla="*/ 0 h 382"/>
                  <a:gd name="T32" fmla="*/ 0 w 1070"/>
                  <a:gd name="T33" fmla="*/ 0 h 382"/>
                  <a:gd name="T34" fmla="*/ 0 w 1070"/>
                  <a:gd name="T35" fmla="*/ 0 h 382"/>
                  <a:gd name="T36" fmla="*/ 0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0 h 382"/>
                  <a:gd name="T46" fmla="*/ 0 w 1070"/>
                  <a:gd name="T47" fmla="*/ 0 h 382"/>
                  <a:gd name="T48" fmla="*/ 0 w 1070"/>
                  <a:gd name="T49" fmla="*/ 0 h 382"/>
                  <a:gd name="T50" fmla="*/ 0 w 1070"/>
                  <a:gd name="T51" fmla="*/ 0 h 382"/>
                  <a:gd name="T52" fmla="*/ 0 w 1070"/>
                  <a:gd name="T53" fmla="*/ 0 h 382"/>
                  <a:gd name="T54" fmla="*/ 0 w 1070"/>
                  <a:gd name="T55" fmla="*/ 0 h 382"/>
                  <a:gd name="T56" fmla="*/ 0 w 1070"/>
                  <a:gd name="T57" fmla="*/ 0 h 382"/>
                  <a:gd name="T58" fmla="*/ 0 w 1070"/>
                  <a:gd name="T59" fmla="*/ 0 h 382"/>
                  <a:gd name="T60" fmla="*/ 0 w 1070"/>
                  <a:gd name="T61" fmla="*/ 0 h 382"/>
                  <a:gd name="T62" fmla="*/ 0 w 1070"/>
                  <a:gd name="T63" fmla="*/ 0 h 382"/>
                  <a:gd name="T64" fmla="*/ 0 w 1070"/>
                  <a:gd name="T65" fmla="*/ 0 h 382"/>
                  <a:gd name="T66" fmla="*/ 0 w 1070"/>
                  <a:gd name="T67" fmla="*/ 0 h 382"/>
                  <a:gd name="T68" fmla="*/ 0 w 1070"/>
                  <a:gd name="T69" fmla="*/ 0 h 382"/>
                  <a:gd name="T70" fmla="*/ 0 w 1070"/>
                  <a:gd name="T71" fmla="*/ 0 h 382"/>
                  <a:gd name="T72" fmla="*/ 0 w 1070"/>
                  <a:gd name="T73" fmla="*/ 0 h 382"/>
                  <a:gd name="T74" fmla="*/ 0 w 1070"/>
                  <a:gd name="T75" fmla="*/ 0 h 382"/>
                  <a:gd name="T76" fmla="*/ 0 w 1070"/>
                  <a:gd name="T77" fmla="*/ 0 h 382"/>
                  <a:gd name="T78" fmla="*/ 0 w 1070"/>
                  <a:gd name="T79" fmla="*/ 0 h 382"/>
                  <a:gd name="T80" fmla="*/ 0 w 1070"/>
                  <a:gd name="T81" fmla="*/ 0 h 382"/>
                  <a:gd name="T82" fmla="*/ 0 w 1070"/>
                  <a:gd name="T83" fmla="*/ 0 h 382"/>
                  <a:gd name="T84" fmla="*/ 0 w 1070"/>
                  <a:gd name="T85" fmla="*/ 0 h 382"/>
                  <a:gd name="T86" fmla="*/ 0 w 1070"/>
                  <a:gd name="T87" fmla="*/ 0 h 382"/>
                  <a:gd name="T88" fmla="*/ 0 w 1070"/>
                  <a:gd name="T89" fmla="*/ 0 h 382"/>
                  <a:gd name="T90" fmla="*/ 0 w 1070"/>
                  <a:gd name="T91" fmla="*/ 0 h 382"/>
                  <a:gd name="T92" fmla="*/ 0 w 1070"/>
                  <a:gd name="T93" fmla="*/ 0 h 382"/>
                  <a:gd name="T94" fmla="*/ 0 w 1070"/>
                  <a:gd name="T95" fmla="*/ 0 h 382"/>
                  <a:gd name="T96" fmla="*/ 0 w 1070"/>
                  <a:gd name="T97" fmla="*/ 0 h 382"/>
                  <a:gd name="T98" fmla="*/ 0 w 1070"/>
                  <a:gd name="T99" fmla="*/ 0 h 382"/>
                  <a:gd name="T100" fmla="*/ 0 w 1070"/>
                  <a:gd name="T101" fmla="*/ 0 h 382"/>
                  <a:gd name="T102" fmla="*/ 0 w 1070"/>
                  <a:gd name="T103" fmla="*/ 0 h 382"/>
                  <a:gd name="T104" fmla="*/ 0 w 1070"/>
                  <a:gd name="T105" fmla="*/ 0 h 382"/>
                  <a:gd name="T106" fmla="*/ 0 w 1070"/>
                  <a:gd name="T107" fmla="*/ 0 h 382"/>
                  <a:gd name="T108" fmla="*/ 0 w 1070"/>
                  <a:gd name="T109" fmla="*/ 0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225" name="Freeform 542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816003" y="4102545"/>
              <a:ext cx="320158" cy="546781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6" name="Freeform 544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5936595" y="4036327"/>
              <a:ext cx="268836" cy="323527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7" name="Freeform 545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3976536" y="4100654"/>
              <a:ext cx="579220" cy="459749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8" name="Freeform 546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3468192" y="3644687"/>
              <a:ext cx="461910" cy="310284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8" name="Connecteur droit 7"/>
          <p:cNvCxnSpPr/>
          <p:nvPr/>
        </p:nvCxnSpPr>
        <p:spPr>
          <a:xfrm flipH="1">
            <a:off x="2685816" y="1434617"/>
            <a:ext cx="90211" cy="514453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2017919" y="3494903"/>
            <a:ext cx="646931" cy="1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 flipV="1">
            <a:off x="6944640" y="2668903"/>
            <a:ext cx="532247" cy="399157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Connecteur droit 16"/>
          <p:cNvCxnSpPr/>
          <p:nvPr/>
        </p:nvCxnSpPr>
        <p:spPr>
          <a:xfrm flipV="1">
            <a:off x="3181574" y="3764424"/>
            <a:ext cx="672371" cy="818626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 flipV="1">
            <a:off x="2999216" y="4182821"/>
            <a:ext cx="975394" cy="1500670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 flipH="1" flipV="1">
            <a:off x="4984645" y="3819864"/>
            <a:ext cx="1299599" cy="197555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 flipH="1" flipV="1">
            <a:off x="6143745" y="5231950"/>
            <a:ext cx="425539" cy="360964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8" name="Rectangle à coins arrondis 37"/>
          <p:cNvSpPr/>
          <p:nvPr/>
        </p:nvSpPr>
        <p:spPr>
          <a:xfrm>
            <a:off x="2301897" y="1204476"/>
            <a:ext cx="938892" cy="264793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orocco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Rectangle à coins arrondis 38"/>
          <p:cNvSpPr/>
          <p:nvPr/>
        </p:nvSpPr>
        <p:spPr>
          <a:xfrm>
            <a:off x="757698" y="3361217"/>
            <a:ext cx="1239944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Ivory </a:t>
            </a:r>
            <a:r>
              <a:rPr lang="fr-FR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oast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Rectangle à coins arrondis 40"/>
          <p:cNvSpPr/>
          <p:nvPr/>
        </p:nvSpPr>
        <p:spPr>
          <a:xfrm>
            <a:off x="2180274" y="3837014"/>
            <a:ext cx="821948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Nigeria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2" name="Rectangle à coins arrondis 41"/>
          <p:cNvSpPr/>
          <p:nvPr/>
        </p:nvSpPr>
        <p:spPr>
          <a:xfrm>
            <a:off x="2079547" y="4556629"/>
            <a:ext cx="1092560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ameroon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3" name="Rectangle à coins arrondis 42"/>
          <p:cNvSpPr/>
          <p:nvPr/>
        </p:nvSpPr>
        <p:spPr>
          <a:xfrm>
            <a:off x="2217337" y="5569489"/>
            <a:ext cx="1545935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Congo-Brazzaville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Rectangle à coins arrondis 44"/>
          <p:cNvSpPr/>
          <p:nvPr/>
        </p:nvSpPr>
        <p:spPr>
          <a:xfrm>
            <a:off x="6239721" y="3938535"/>
            <a:ext cx="869547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DRC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Rectangle à coins arrondis 45"/>
          <p:cNvSpPr/>
          <p:nvPr/>
        </p:nvSpPr>
        <p:spPr>
          <a:xfrm>
            <a:off x="6043912" y="5643742"/>
            <a:ext cx="1231596" cy="234000"/>
          </a:xfrm>
          <a:prstGeom prst="round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adagascar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4" name="Connecteur droit 53"/>
          <p:cNvCxnSpPr>
            <a:endCxn id="66" idx="2"/>
          </p:cNvCxnSpPr>
          <p:nvPr/>
        </p:nvCxnSpPr>
        <p:spPr>
          <a:xfrm flipH="1" flipV="1">
            <a:off x="4210469" y="1433311"/>
            <a:ext cx="667196" cy="741130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7" name="Connecteur droit 56"/>
          <p:cNvCxnSpPr/>
          <p:nvPr/>
        </p:nvCxnSpPr>
        <p:spPr>
          <a:xfrm flipH="1" flipV="1">
            <a:off x="9759125" y="2625706"/>
            <a:ext cx="662606" cy="1005795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Connecteur droit 59"/>
          <p:cNvCxnSpPr>
            <a:endCxn id="64" idx="0"/>
          </p:cNvCxnSpPr>
          <p:nvPr/>
        </p:nvCxnSpPr>
        <p:spPr>
          <a:xfrm flipH="1">
            <a:off x="8922952" y="3009550"/>
            <a:ext cx="641354" cy="900191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4" name="Rectangle à coins arrondis 63"/>
          <p:cNvSpPr/>
          <p:nvPr/>
        </p:nvSpPr>
        <p:spPr>
          <a:xfrm>
            <a:off x="8381444" y="3909741"/>
            <a:ext cx="1083015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Thailand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Rectangle à coins arrondis 64"/>
          <p:cNvSpPr/>
          <p:nvPr/>
        </p:nvSpPr>
        <p:spPr>
          <a:xfrm>
            <a:off x="10121209" y="3635100"/>
            <a:ext cx="857597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ietnam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Rectangle à coins arrondis 65"/>
          <p:cNvSpPr/>
          <p:nvPr/>
        </p:nvSpPr>
        <p:spPr>
          <a:xfrm>
            <a:off x="3850869" y="1199311"/>
            <a:ext cx="719199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Egypt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8" name="Connecteur droit 67"/>
          <p:cNvCxnSpPr/>
          <p:nvPr/>
        </p:nvCxnSpPr>
        <p:spPr>
          <a:xfrm flipV="1">
            <a:off x="5296114" y="842227"/>
            <a:ext cx="137499" cy="987580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0" name="Connecteur droit 79"/>
          <p:cNvCxnSpPr/>
          <p:nvPr/>
        </p:nvCxnSpPr>
        <p:spPr>
          <a:xfrm>
            <a:off x="5246534" y="1923348"/>
            <a:ext cx="745248" cy="848079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2" name="Rectangle à coins arrondis 81"/>
          <p:cNvSpPr/>
          <p:nvPr/>
        </p:nvSpPr>
        <p:spPr>
          <a:xfrm>
            <a:off x="5056691" y="637447"/>
            <a:ext cx="883823" cy="270145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Lebanon</a:t>
            </a:r>
            <a:endParaRPr lang="fr-FR" sz="1200" i="1" dirty="0">
              <a:solidFill>
                <a:schemeClr val="tx1"/>
              </a:solidFill>
            </a:endParaRPr>
          </a:p>
        </p:txBody>
      </p:sp>
      <p:sp>
        <p:nvSpPr>
          <p:cNvPr id="85" name="Rectangle à coins arrondis 84"/>
          <p:cNvSpPr/>
          <p:nvPr/>
        </p:nvSpPr>
        <p:spPr>
          <a:xfrm>
            <a:off x="5464076" y="2533634"/>
            <a:ext cx="1296786" cy="377678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Palestinian</a:t>
            </a:r>
            <a:endParaRPr lang="fr-FR" sz="12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2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Territories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Rectangle à coins arrondis 34"/>
          <p:cNvSpPr/>
          <p:nvPr/>
        </p:nvSpPr>
        <p:spPr>
          <a:xfrm>
            <a:off x="6565989" y="689785"/>
            <a:ext cx="771395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Syria</a:t>
            </a:r>
            <a:endParaRPr lang="fr-FR" sz="1200" i="1" dirty="0">
              <a:solidFill>
                <a:schemeClr val="tx1"/>
              </a:solidFill>
            </a:endParaRPr>
          </a:p>
        </p:txBody>
      </p:sp>
      <p:cxnSp>
        <p:nvCxnSpPr>
          <p:cNvPr id="36" name="Connecteur droit 35"/>
          <p:cNvCxnSpPr/>
          <p:nvPr/>
        </p:nvCxnSpPr>
        <p:spPr>
          <a:xfrm flipV="1">
            <a:off x="5502307" y="927513"/>
            <a:ext cx="1174982" cy="786466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0" name="Ellipse 39"/>
          <p:cNvSpPr/>
          <p:nvPr/>
        </p:nvSpPr>
        <p:spPr>
          <a:xfrm>
            <a:off x="5405064" y="5329854"/>
            <a:ext cx="248273" cy="26306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6" name="Ellipse 95"/>
          <p:cNvSpPr/>
          <p:nvPr/>
        </p:nvSpPr>
        <p:spPr>
          <a:xfrm>
            <a:off x="9849620" y="4359139"/>
            <a:ext cx="248273" cy="26306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1" dirty="0">
              <a:solidFill>
                <a:schemeClr val="tx1"/>
              </a:solidFill>
            </a:endParaRPr>
          </a:p>
        </p:txBody>
      </p:sp>
      <p:pic>
        <p:nvPicPr>
          <p:cNvPr id="314" name="Image 313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325" y="4274825"/>
            <a:ext cx="234000" cy="234000"/>
          </a:xfrm>
          <a:prstGeom prst="rect">
            <a:avLst/>
          </a:prstGeom>
        </p:spPr>
      </p:pic>
      <p:pic>
        <p:nvPicPr>
          <p:cNvPr id="315" name="Image 314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326" y="4274825"/>
            <a:ext cx="234000" cy="236629"/>
          </a:xfrm>
          <a:prstGeom prst="rect">
            <a:avLst/>
          </a:prstGeom>
        </p:spPr>
      </p:pic>
      <p:pic>
        <p:nvPicPr>
          <p:cNvPr id="316" name="Image 315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327" y="4280960"/>
            <a:ext cx="234000" cy="236630"/>
          </a:xfrm>
          <a:prstGeom prst="rect">
            <a:avLst/>
          </a:prstGeom>
        </p:spPr>
      </p:pic>
      <p:pic>
        <p:nvPicPr>
          <p:cNvPr id="317" name="Image 316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824" y="3021093"/>
            <a:ext cx="234000" cy="234000"/>
          </a:xfrm>
          <a:prstGeom prst="rect">
            <a:avLst/>
          </a:prstGeom>
        </p:spPr>
      </p:pic>
      <p:pic>
        <p:nvPicPr>
          <p:cNvPr id="318" name="Image 317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825" y="3021093"/>
            <a:ext cx="234000" cy="236629"/>
          </a:xfrm>
          <a:prstGeom prst="rect">
            <a:avLst/>
          </a:prstGeom>
        </p:spPr>
      </p:pic>
      <p:pic>
        <p:nvPicPr>
          <p:cNvPr id="319" name="Image 318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670" y="3629622"/>
            <a:ext cx="234000" cy="234000"/>
          </a:xfrm>
          <a:prstGeom prst="rect">
            <a:avLst/>
          </a:prstGeom>
        </p:spPr>
      </p:pic>
      <p:pic>
        <p:nvPicPr>
          <p:cNvPr id="320" name="Image 319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671" y="3629622"/>
            <a:ext cx="234000" cy="236629"/>
          </a:xfrm>
          <a:prstGeom prst="rect">
            <a:avLst/>
          </a:prstGeom>
        </p:spPr>
      </p:pic>
      <p:pic>
        <p:nvPicPr>
          <p:cNvPr id="321" name="Image 320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672" y="3629622"/>
            <a:ext cx="234000" cy="236630"/>
          </a:xfrm>
          <a:prstGeom prst="rect">
            <a:avLst/>
          </a:prstGeom>
        </p:spPr>
      </p:pic>
      <p:pic>
        <p:nvPicPr>
          <p:cNvPr id="322" name="Image 321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9938" y="5295202"/>
            <a:ext cx="234000" cy="236629"/>
          </a:xfrm>
          <a:prstGeom prst="rect">
            <a:avLst/>
          </a:prstGeom>
        </p:spPr>
      </p:pic>
      <p:pic>
        <p:nvPicPr>
          <p:cNvPr id="323" name="Image 322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939" y="5295202"/>
            <a:ext cx="234000" cy="236630"/>
          </a:xfrm>
          <a:prstGeom prst="rect">
            <a:avLst/>
          </a:prstGeom>
        </p:spPr>
      </p:pic>
      <p:pic>
        <p:nvPicPr>
          <p:cNvPr id="324" name="Image 323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887" y="3568457"/>
            <a:ext cx="234000" cy="234000"/>
          </a:xfrm>
          <a:prstGeom prst="rect">
            <a:avLst/>
          </a:prstGeom>
        </p:spPr>
      </p:pic>
      <p:pic>
        <p:nvPicPr>
          <p:cNvPr id="325" name="Image 324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403" y="5370311"/>
            <a:ext cx="234000" cy="236630"/>
          </a:xfrm>
          <a:prstGeom prst="rect">
            <a:avLst/>
          </a:prstGeom>
        </p:spPr>
      </p:pic>
      <p:pic>
        <p:nvPicPr>
          <p:cNvPr id="326" name="Image 325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425" y="5370311"/>
            <a:ext cx="234000" cy="234000"/>
          </a:xfrm>
          <a:prstGeom prst="rect">
            <a:avLst/>
          </a:prstGeom>
        </p:spPr>
      </p:pic>
      <p:pic>
        <p:nvPicPr>
          <p:cNvPr id="327" name="Image 326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426" y="5370311"/>
            <a:ext cx="234000" cy="236629"/>
          </a:xfrm>
          <a:prstGeom prst="rect">
            <a:avLst/>
          </a:prstGeom>
        </p:spPr>
      </p:pic>
      <p:pic>
        <p:nvPicPr>
          <p:cNvPr id="328" name="Image 327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427" y="5376446"/>
            <a:ext cx="234000" cy="236630"/>
          </a:xfrm>
          <a:prstGeom prst="rect">
            <a:avLst/>
          </a:prstGeom>
        </p:spPr>
      </p:pic>
      <p:pic>
        <p:nvPicPr>
          <p:cNvPr id="329" name="Image 328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234" y="410499"/>
            <a:ext cx="234000" cy="236630"/>
          </a:xfrm>
          <a:prstGeom prst="rect">
            <a:avLst/>
          </a:prstGeom>
        </p:spPr>
      </p:pic>
      <p:pic>
        <p:nvPicPr>
          <p:cNvPr id="330" name="Image 329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454" y="409924"/>
            <a:ext cx="234000" cy="234000"/>
          </a:xfrm>
          <a:prstGeom prst="rect">
            <a:avLst/>
          </a:prstGeom>
        </p:spPr>
      </p:pic>
      <p:pic>
        <p:nvPicPr>
          <p:cNvPr id="331" name="Image 330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978" y="410722"/>
            <a:ext cx="234000" cy="236629"/>
          </a:xfrm>
          <a:prstGeom prst="rect">
            <a:avLst/>
          </a:prstGeom>
        </p:spPr>
      </p:pic>
      <p:pic>
        <p:nvPicPr>
          <p:cNvPr id="332" name="Image 331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904" y="428424"/>
            <a:ext cx="234000" cy="234000"/>
          </a:xfrm>
          <a:prstGeom prst="rect">
            <a:avLst/>
          </a:prstGeom>
        </p:spPr>
      </p:pic>
      <p:pic>
        <p:nvPicPr>
          <p:cNvPr id="333" name="Image 332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905" y="428424"/>
            <a:ext cx="234000" cy="236629"/>
          </a:xfrm>
          <a:prstGeom prst="rect">
            <a:avLst/>
          </a:prstGeom>
        </p:spPr>
      </p:pic>
      <p:pic>
        <p:nvPicPr>
          <p:cNvPr id="334" name="Image 333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6268" y="2234269"/>
            <a:ext cx="234000" cy="236630"/>
          </a:xfrm>
          <a:prstGeom prst="rect">
            <a:avLst/>
          </a:prstGeom>
        </p:spPr>
      </p:pic>
      <p:pic>
        <p:nvPicPr>
          <p:cNvPr id="335" name="Image 334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338" y="2234270"/>
            <a:ext cx="234000" cy="236629"/>
          </a:xfrm>
          <a:prstGeom prst="rect">
            <a:avLst/>
          </a:prstGeom>
        </p:spPr>
      </p:pic>
      <p:pic>
        <p:nvPicPr>
          <p:cNvPr id="337" name="Image 336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616" y="921635"/>
            <a:ext cx="234000" cy="234000"/>
          </a:xfrm>
          <a:prstGeom prst="rect">
            <a:avLst/>
          </a:prstGeom>
        </p:spPr>
      </p:pic>
      <p:pic>
        <p:nvPicPr>
          <p:cNvPr id="338" name="Image 337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922" y="956983"/>
            <a:ext cx="234000" cy="234000"/>
          </a:xfrm>
          <a:prstGeom prst="rect">
            <a:avLst/>
          </a:prstGeom>
        </p:spPr>
      </p:pic>
      <p:pic>
        <p:nvPicPr>
          <p:cNvPr id="339" name="Image 338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40" y="3605265"/>
            <a:ext cx="234000" cy="234000"/>
          </a:xfrm>
          <a:prstGeom prst="rect">
            <a:avLst/>
          </a:prstGeom>
        </p:spPr>
      </p:pic>
      <p:pic>
        <p:nvPicPr>
          <p:cNvPr id="340" name="Image 339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401" y="3353577"/>
            <a:ext cx="234000" cy="236629"/>
          </a:xfrm>
          <a:prstGeom prst="rect">
            <a:avLst/>
          </a:prstGeom>
        </p:spPr>
      </p:pic>
      <p:cxnSp>
        <p:nvCxnSpPr>
          <p:cNvPr id="301" name="Connecteur droit 300"/>
          <p:cNvCxnSpPr>
            <a:endCxn id="302" idx="0"/>
          </p:cNvCxnSpPr>
          <p:nvPr/>
        </p:nvCxnSpPr>
        <p:spPr>
          <a:xfrm flipH="1">
            <a:off x="8742806" y="2492594"/>
            <a:ext cx="473074" cy="525261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02" name="Rectangle à coins arrondis 301"/>
          <p:cNvSpPr/>
          <p:nvPr/>
        </p:nvSpPr>
        <p:spPr>
          <a:xfrm>
            <a:off x="8246184" y="3017855"/>
            <a:ext cx="993244" cy="17944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yanmar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3" name="Image 302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996" y="2712944"/>
            <a:ext cx="234000" cy="234000"/>
          </a:xfrm>
          <a:prstGeom prst="rect">
            <a:avLst/>
          </a:prstGeom>
        </p:spPr>
      </p:pic>
      <p:sp>
        <p:nvSpPr>
          <p:cNvPr id="304" name="Rectangle 303"/>
          <p:cNvSpPr/>
          <p:nvPr/>
        </p:nvSpPr>
        <p:spPr>
          <a:xfrm>
            <a:off x="7271701" y="5421684"/>
            <a:ext cx="4559089" cy="139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fr-FR" sz="4000" dirty="0">
                <a:solidFill>
                  <a:schemeClr val="tx2"/>
                </a:solidFill>
                <a:latin typeface="Century Gothic" panose="020B0502020202020204" pitchFamily="34" charset="0"/>
              </a:rPr>
              <a:t>4 </a:t>
            </a:r>
            <a:r>
              <a:rPr lang="fr-FR" sz="2800" dirty="0">
                <a:solidFill>
                  <a:schemeClr val="tx2"/>
                </a:solidFill>
                <a:latin typeface="Century Gothic" panose="020B0502020202020204" pitchFamily="34" charset="0"/>
              </a:rPr>
              <a:t>GEOGRAPHIC AREAS</a:t>
            </a:r>
          </a:p>
          <a:p>
            <a:pPr algn="ctr"/>
            <a:r>
              <a:rPr lang="fr-FR" altLang="fr-FR" sz="16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ub-saharan</a:t>
            </a:r>
            <a:r>
              <a:rPr lang="fr-FR" altLang="fr-FR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altLang="fr-FR" sz="16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frica</a:t>
            </a:r>
            <a:r>
              <a:rPr lang="fr-FR" altLang="fr-FR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, Madagascar, Middle East and North </a:t>
            </a:r>
            <a:r>
              <a:rPr lang="fr-FR" altLang="fr-FR" sz="16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frica</a:t>
            </a:r>
            <a:r>
              <a:rPr lang="fr-FR" altLang="fr-FR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fr-FR" altLang="fr-FR" sz="16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outheast</a:t>
            </a:r>
            <a:r>
              <a:rPr lang="fr-FR" altLang="fr-FR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 Asia</a:t>
            </a:r>
          </a:p>
          <a:p>
            <a:pPr algn="ctr"/>
            <a:endParaRPr lang="fr-FR" sz="16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ctr"/>
            <a:endParaRPr lang="fr-FR" sz="16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0" name="Image 299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032" y="3348947"/>
            <a:ext cx="234000" cy="234000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8672321" y="4744919"/>
            <a:ext cx="18250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dirty="0">
                <a:solidFill>
                  <a:schemeClr val="tx2"/>
                </a:solidFill>
                <a:latin typeface="Century Gothic" panose="020B0502020202020204" pitchFamily="34" charset="0"/>
              </a:rPr>
              <a:t>2016</a:t>
            </a:r>
          </a:p>
        </p:txBody>
      </p:sp>
      <p:pic>
        <p:nvPicPr>
          <p:cNvPr id="305" name="Image 304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69" y="907592"/>
            <a:ext cx="231399" cy="234000"/>
          </a:xfrm>
          <a:prstGeom prst="rect">
            <a:avLst/>
          </a:prstGeom>
        </p:spPr>
      </p:pic>
      <p:pic>
        <p:nvPicPr>
          <p:cNvPr id="306" name="Image 305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03" y="292924"/>
            <a:ext cx="234000" cy="234000"/>
          </a:xfrm>
          <a:prstGeom prst="rect">
            <a:avLst/>
          </a:prstGeom>
        </p:spPr>
      </p:pic>
      <p:pic>
        <p:nvPicPr>
          <p:cNvPr id="307" name="Image 306"/>
          <p:cNvPicPr preferRelativeResize="0"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17" y="605360"/>
            <a:ext cx="234000" cy="236629"/>
          </a:xfrm>
          <a:prstGeom prst="rect">
            <a:avLst/>
          </a:prstGeom>
        </p:spPr>
      </p:pic>
      <p:pic>
        <p:nvPicPr>
          <p:cNvPr id="308" name="Image 307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18" y="1215605"/>
            <a:ext cx="231399" cy="234000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551146" y="272721"/>
            <a:ext cx="33556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err="1">
                <a:latin typeface="Century Gothic" panose="020B0502020202020204" pitchFamily="34" charset="0"/>
              </a:rPr>
              <a:t>Vocational</a:t>
            </a:r>
            <a:r>
              <a:rPr lang="fr-FR" sz="1400" dirty="0">
                <a:latin typeface="Century Gothic" panose="020B0502020202020204" pitchFamily="34" charset="0"/>
              </a:rPr>
              <a:t> training and </a:t>
            </a:r>
            <a:r>
              <a:rPr lang="fr-FR" sz="1400" dirty="0" err="1">
                <a:latin typeface="Century Gothic" panose="020B0502020202020204" pitchFamily="34" charset="0"/>
              </a:rPr>
              <a:t>emloyment</a:t>
            </a:r>
            <a:endParaRPr lang="fr-FR" sz="1400" dirty="0">
              <a:latin typeface="Century Gothic" panose="020B0502020202020204" pitchFamily="34" charset="0"/>
            </a:endParaRPr>
          </a:p>
        </p:txBody>
      </p:sp>
      <p:sp>
        <p:nvSpPr>
          <p:cNvPr id="309" name="ZoneTexte 308"/>
          <p:cNvSpPr txBox="1"/>
          <p:nvPr/>
        </p:nvSpPr>
        <p:spPr>
          <a:xfrm>
            <a:off x="551147" y="596536"/>
            <a:ext cx="17209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err="1">
                <a:latin typeface="Century Gothic" panose="020B0502020202020204" pitchFamily="34" charset="0"/>
              </a:rPr>
              <a:t>Entrepreneurship</a:t>
            </a:r>
            <a:endParaRPr lang="fr-FR" sz="1400" dirty="0">
              <a:latin typeface="Century Gothic" panose="020B0502020202020204" pitchFamily="34" charset="0"/>
            </a:endParaRPr>
          </a:p>
        </p:txBody>
      </p:sp>
      <p:sp>
        <p:nvSpPr>
          <p:cNvPr id="310" name="ZoneTexte 309"/>
          <p:cNvSpPr txBox="1"/>
          <p:nvPr/>
        </p:nvSpPr>
        <p:spPr>
          <a:xfrm>
            <a:off x="540869" y="911724"/>
            <a:ext cx="1962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Education</a:t>
            </a:r>
          </a:p>
        </p:txBody>
      </p:sp>
      <p:sp>
        <p:nvSpPr>
          <p:cNvPr id="311" name="ZoneTexte 310"/>
          <p:cNvSpPr txBox="1"/>
          <p:nvPr/>
        </p:nvSpPr>
        <p:spPr>
          <a:xfrm>
            <a:off x="531640" y="1230036"/>
            <a:ext cx="1184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Healthcare</a:t>
            </a:r>
          </a:p>
        </p:txBody>
      </p:sp>
      <p:sp>
        <p:nvSpPr>
          <p:cNvPr id="4" name="Rectangle 3"/>
          <p:cNvSpPr/>
          <p:nvPr/>
        </p:nvSpPr>
        <p:spPr>
          <a:xfrm>
            <a:off x="11572876" y="6448425"/>
            <a:ext cx="704850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13" name="Image 312"/>
          <p:cNvPicPr>
            <a:picLocks noChangeAspect="1"/>
          </p:cNvPicPr>
          <p:nvPr/>
        </p:nvPicPr>
        <p:blipFill>
          <a:blip r:embed="rId1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  <p:pic>
        <p:nvPicPr>
          <p:cNvPr id="341" name="Image 340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326493" y="1520912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2" name="ZoneTexte 341"/>
          <p:cNvSpPr txBox="1"/>
          <p:nvPr/>
        </p:nvSpPr>
        <p:spPr>
          <a:xfrm>
            <a:off x="524412" y="1507154"/>
            <a:ext cx="15049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IECD </a:t>
            </a:r>
            <a:r>
              <a:rPr lang="fr-FR" sz="1400" dirty="0" err="1">
                <a:latin typeface="Century Gothic" panose="020B0502020202020204" pitchFamily="34" charset="0"/>
              </a:rPr>
              <a:t>employees</a:t>
            </a:r>
            <a:endParaRPr lang="fr-FR" sz="1400" dirty="0">
              <a:latin typeface="Century Gothic" panose="020B0502020202020204" pitchFamily="34" charset="0"/>
            </a:endParaRPr>
          </a:p>
        </p:txBody>
      </p:sp>
      <p:pic>
        <p:nvPicPr>
          <p:cNvPr id="343" name="Image 342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1799963" y="4434944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9" name="ZoneTexte 8"/>
          <p:cNvSpPr txBox="1"/>
          <p:nvPr/>
        </p:nvSpPr>
        <p:spPr>
          <a:xfrm>
            <a:off x="1343989" y="4342687"/>
            <a:ext cx="5108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1</a:t>
            </a:r>
          </a:p>
        </p:txBody>
      </p:sp>
      <p:pic>
        <p:nvPicPr>
          <p:cNvPr id="344" name="Image 343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610181" y="323571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5" name="ZoneTexte 344"/>
          <p:cNvSpPr txBox="1"/>
          <p:nvPr/>
        </p:nvSpPr>
        <p:spPr>
          <a:xfrm>
            <a:off x="123497" y="3143459"/>
            <a:ext cx="541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14</a:t>
            </a:r>
          </a:p>
        </p:txBody>
      </p:sp>
      <p:pic>
        <p:nvPicPr>
          <p:cNvPr id="346" name="Image 345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1913957" y="5443611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7" name="ZoneTexte 346"/>
          <p:cNvSpPr txBox="1"/>
          <p:nvPr/>
        </p:nvSpPr>
        <p:spPr>
          <a:xfrm>
            <a:off x="1388873" y="5351354"/>
            <a:ext cx="579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2</a:t>
            </a:r>
          </a:p>
        </p:txBody>
      </p:sp>
      <p:pic>
        <p:nvPicPr>
          <p:cNvPr id="348" name="Image 347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3590549" y="1089407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9" name="ZoneTexte 348"/>
          <p:cNvSpPr txBox="1"/>
          <p:nvPr/>
        </p:nvSpPr>
        <p:spPr>
          <a:xfrm>
            <a:off x="3281782" y="977490"/>
            <a:ext cx="3900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3</a:t>
            </a:r>
          </a:p>
        </p:txBody>
      </p:sp>
      <p:pic>
        <p:nvPicPr>
          <p:cNvPr id="352" name="Image 351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7959541" y="2908191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3" name="ZoneTexte 352"/>
          <p:cNvSpPr txBox="1"/>
          <p:nvPr/>
        </p:nvSpPr>
        <p:spPr>
          <a:xfrm>
            <a:off x="7621326" y="2770030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4</a:t>
            </a:r>
          </a:p>
        </p:txBody>
      </p:sp>
      <p:pic>
        <p:nvPicPr>
          <p:cNvPr id="354" name="Image 353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8097063" y="3776203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5" name="ZoneTexte 354"/>
          <p:cNvSpPr txBox="1"/>
          <p:nvPr/>
        </p:nvSpPr>
        <p:spPr>
          <a:xfrm>
            <a:off x="7839479" y="3726617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1</a:t>
            </a:r>
          </a:p>
        </p:txBody>
      </p:sp>
      <p:pic>
        <p:nvPicPr>
          <p:cNvPr id="356" name="Image 355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6011353" y="381084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7" name="ZoneTexte 356"/>
          <p:cNvSpPr txBox="1"/>
          <p:nvPr/>
        </p:nvSpPr>
        <p:spPr>
          <a:xfrm>
            <a:off x="5702815" y="3713353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3</a:t>
            </a:r>
          </a:p>
        </p:txBody>
      </p:sp>
      <p:pic>
        <p:nvPicPr>
          <p:cNvPr id="358" name="Image 357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2113543" y="1060254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9" name="ZoneTexte 358"/>
          <p:cNvSpPr txBox="1"/>
          <p:nvPr/>
        </p:nvSpPr>
        <p:spPr>
          <a:xfrm>
            <a:off x="1783750" y="969529"/>
            <a:ext cx="3900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</a:t>
            </a:r>
          </a:p>
        </p:txBody>
      </p:sp>
      <p:pic>
        <p:nvPicPr>
          <p:cNvPr id="360" name="Image 359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4784509" y="53478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1" name="ZoneTexte 360"/>
          <p:cNvSpPr txBox="1"/>
          <p:nvPr/>
        </p:nvSpPr>
        <p:spPr>
          <a:xfrm>
            <a:off x="4340677" y="422869"/>
            <a:ext cx="5251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17</a:t>
            </a:r>
          </a:p>
        </p:txBody>
      </p:sp>
      <p:pic>
        <p:nvPicPr>
          <p:cNvPr id="362" name="Image 361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6317955" y="558085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3" name="ZoneTexte 362"/>
          <p:cNvSpPr txBox="1"/>
          <p:nvPr/>
        </p:nvSpPr>
        <p:spPr>
          <a:xfrm>
            <a:off x="5807635" y="446168"/>
            <a:ext cx="59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45</a:t>
            </a:r>
          </a:p>
        </p:txBody>
      </p:sp>
      <p:pic>
        <p:nvPicPr>
          <p:cNvPr id="364" name="Image 363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5761722" y="5550264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5" name="ZoneTexte 364"/>
          <p:cNvSpPr txBox="1"/>
          <p:nvPr/>
        </p:nvSpPr>
        <p:spPr>
          <a:xfrm>
            <a:off x="5317890" y="5438347"/>
            <a:ext cx="5251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1</a:t>
            </a:r>
          </a:p>
        </p:txBody>
      </p:sp>
      <p:pic>
        <p:nvPicPr>
          <p:cNvPr id="366" name="Image 365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9814467" y="3522433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7" name="ZoneTexte 366"/>
          <p:cNvSpPr txBox="1"/>
          <p:nvPr/>
        </p:nvSpPr>
        <p:spPr>
          <a:xfrm>
            <a:off x="9498232" y="3413397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5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8872011" y="131709"/>
            <a:ext cx="2715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latin typeface="Century Gothic" panose="020B0502020202020204" pitchFamily="34" charset="0"/>
              </a:rPr>
              <a:t>161 IECD </a:t>
            </a:r>
            <a:r>
              <a:rPr lang="fr-FR" sz="1200" dirty="0" err="1">
                <a:latin typeface="Century Gothic" panose="020B0502020202020204" pitchFamily="34" charset="0"/>
              </a:rPr>
              <a:t>employees</a:t>
            </a:r>
            <a:r>
              <a:rPr lang="fr-FR" sz="1200" dirty="0">
                <a:latin typeface="Century Gothic" panose="020B0502020202020204" pitchFamily="34" charset="0"/>
              </a:rPr>
              <a:t> in the </a:t>
            </a:r>
            <a:r>
              <a:rPr lang="fr-FR" sz="1200" dirty="0" err="1">
                <a:latin typeface="Century Gothic" panose="020B0502020202020204" pitchFamily="34" charset="0"/>
              </a:rPr>
              <a:t>field</a:t>
            </a:r>
            <a:endParaRPr lang="fr-FR" sz="1200" dirty="0">
              <a:latin typeface="Century Gothic" panose="020B0502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003109" y="450747"/>
            <a:ext cx="940589" cy="23480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8" name="Rectangle 367"/>
          <p:cNvSpPr/>
          <p:nvPr/>
        </p:nvSpPr>
        <p:spPr>
          <a:xfrm>
            <a:off x="9879000" y="451592"/>
            <a:ext cx="1797276" cy="2339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9" name="ZoneTexte 368"/>
          <p:cNvSpPr txBox="1"/>
          <p:nvPr/>
        </p:nvSpPr>
        <p:spPr>
          <a:xfrm>
            <a:off x="8882474" y="452997"/>
            <a:ext cx="1127979" cy="233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100"/>
              </a:lnSpc>
            </a:pPr>
            <a:r>
              <a:rPr lang="fr-FR" sz="1000" dirty="0">
                <a:latin typeface="Century Gothic" panose="020B0502020202020204" pitchFamily="34" charset="0"/>
              </a:rPr>
              <a:t>54 </a:t>
            </a:r>
            <a:r>
              <a:rPr lang="fr-FR" sz="1000" dirty="0" err="1">
                <a:latin typeface="Century Gothic" panose="020B0502020202020204" pitchFamily="34" charset="0"/>
              </a:rPr>
              <a:t>expatriates</a:t>
            </a:r>
            <a:endParaRPr lang="fr-FR" sz="1000" dirty="0">
              <a:latin typeface="Century Gothic" panose="020B0502020202020204" pitchFamily="34" charset="0"/>
            </a:endParaRPr>
          </a:p>
        </p:txBody>
      </p:sp>
      <p:sp>
        <p:nvSpPr>
          <p:cNvPr id="370" name="ZoneTexte 369"/>
          <p:cNvSpPr txBox="1"/>
          <p:nvPr/>
        </p:nvSpPr>
        <p:spPr>
          <a:xfrm>
            <a:off x="9637354" y="449342"/>
            <a:ext cx="2191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107 local </a:t>
            </a:r>
            <a:r>
              <a:rPr lang="fr-FR" sz="10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ontracts</a:t>
            </a:r>
            <a:endParaRPr lang="fr-FR" sz="10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71" name="Image 370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5201349" y="245866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72" name="ZoneTexte 371"/>
          <p:cNvSpPr txBox="1"/>
          <p:nvPr/>
        </p:nvSpPr>
        <p:spPr>
          <a:xfrm>
            <a:off x="4892811" y="2361173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3</a:t>
            </a:r>
          </a:p>
        </p:txBody>
      </p:sp>
      <p:sp>
        <p:nvSpPr>
          <p:cNvPr id="373" name="ZoneTexte 372"/>
          <p:cNvSpPr txBox="1"/>
          <p:nvPr/>
        </p:nvSpPr>
        <p:spPr>
          <a:xfrm>
            <a:off x="506825" y="2040956"/>
            <a:ext cx="1743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Operating budget</a:t>
            </a:r>
          </a:p>
        </p:txBody>
      </p:sp>
      <p:sp>
        <p:nvSpPr>
          <p:cNvPr id="376" name="ZoneTexte 375"/>
          <p:cNvSpPr txBox="1"/>
          <p:nvPr/>
        </p:nvSpPr>
        <p:spPr>
          <a:xfrm>
            <a:off x="2487902" y="5775934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8%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215287" y="1989775"/>
            <a:ext cx="426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tx2"/>
                </a:solidFill>
                <a:latin typeface="Century Gothic" panose="020B0502020202020204" pitchFamily="34" charset="0"/>
              </a:rPr>
              <a:t>%</a:t>
            </a:r>
          </a:p>
        </p:txBody>
      </p:sp>
      <p:sp>
        <p:nvSpPr>
          <p:cNvPr id="377" name="ZoneTexte 376"/>
          <p:cNvSpPr txBox="1"/>
          <p:nvPr/>
        </p:nvSpPr>
        <p:spPr>
          <a:xfrm>
            <a:off x="2109836" y="4803150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3%</a:t>
            </a:r>
          </a:p>
        </p:txBody>
      </p:sp>
      <p:sp>
        <p:nvSpPr>
          <p:cNvPr id="378" name="ZoneTexte 377"/>
          <p:cNvSpPr txBox="1"/>
          <p:nvPr/>
        </p:nvSpPr>
        <p:spPr>
          <a:xfrm>
            <a:off x="843049" y="3574859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8%</a:t>
            </a:r>
          </a:p>
        </p:txBody>
      </p:sp>
      <p:sp>
        <p:nvSpPr>
          <p:cNvPr id="379" name="ZoneTexte 378"/>
          <p:cNvSpPr txBox="1"/>
          <p:nvPr/>
        </p:nvSpPr>
        <p:spPr>
          <a:xfrm>
            <a:off x="6186221" y="4127197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6%</a:t>
            </a:r>
          </a:p>
        </p:txBody>
      </p:sp>
      <p:sp>
        <p:nvSpPr>
          <p:cNvPr id="380" name="ZoneTexte 379"/>
          <p:cNvSpPr txBox="1"/>
          <p:nvPr/>
        </p:nvSpPr>
        <p:spPr>
          <a:xfrm>
            <a:off x="2689116" y="3775361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1%</a:t>
            </a:r>
          </a:p>
        </p:txBody>
      </p:sp>
      <p:sp>
        <p:nvSpPr>
          <p:cNvPr id="381" name="ZoneTexte 380"/>
          <p:cNvSpPr txBox="1"/>
          <p:nvPr/>
        </p:nvSpPr>
        <p:spPr>
          <a:xfrm>
            <a:off x="5001813" y="802158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8%</a:t>
            </a:r>
          </a:p>
        </p:txBody>
      </p:sp>
      <p:sp>
        <p:nvSpPr>
          <p:cNvPr id="382" name="ZoneTexte 381"/>
          <p:cNvSpPr txBox="1"/>
          <p:nvPr/>
        </p:nvSpPr>
        <p:spPr>
          <a:xfrm>
            <a:off x="6474422" y="878881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%</a:t>
            </a:r>
          </a:p>
        </p:txBody>
      </p:sp>
      <p:sp>
        <p:nvSpPr>
          <p:cNvPr id="383" name="ZoneTexte 382"/>
          <p:cNvSpPr txBox="1"/>
          <p:nvPr/>
        </p:nvSpPr>
        <p:spPr>
          <a:xfrm>
            <a:off x="5625978" y="2870236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%</a:t>
            </a:r>
          </a:p>
        </p:txBody>
      </p:sp>
      <p:sp>
        <p:nvSpPr>
          <p:cNvPr id="384" name="ZoneTexte 383"/>
          <p:cNvSpPr txBox="1"/>
          <p:nvPr/>
        </p:nvSpPr>
        <p:spPr>
          <a:xfrm>
            <a:off x="3711018" y="1413948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%</a:t>
            </a:r>
          </a:p>
        </p:txBody>
      </p:sp>
      <p:sp>
        <p:nvSpPr>
          <p:cNvPr id="385" name="ZoneTexte 384"/>
          <p:cNvSpPr txBox="1"/>
          <p:nvPr/>
        </p:nvSpPr>
        <p:spPr>
          <a:xfrm>
            <a:off x="2262903" y="1375128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%</a:t>
            </a:r>
          </a:p>
        </p:txBody>
      </p:sp>
      <p:sp>
        <p:nvSpPr>
          <p:cNvPr id="386" name="ZoneTexte 385"/>
          <p:cNvSpPr txBox="1"/>
          <p:nvPr/>
        </p:nvSpPr>
        <p:spPr>
          <a:xfrm>
            <a:off x="10055098" y="3813382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%</a:t>
            </a:r>
          </a:p>
        </p:txBody>
      </p:sp>
      <p:sp>
        <p:nvSpPr>
          <p:cNvPr id="387" name="ZoneTexte 386"/>
          <p:cNvSpPr txBox="1"/>
          <p:nvPr/>
        </p:nvSpPr>
        <p:spPr>
          <a:xfrm>
            <a:off x="8454388" y="4081191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%</a:t>
            </a:r>
          </a:p>
        </p:txBody>
      </p:sp>
      <p:sp>
        <p:nvSpPr>
          <p:cNvPr id="388" name="ZoneTexte 387"/>
          <p:cNvSpPr txBox="1"/>
          <p:nvPr/>
        </p:nvSpPr>
        <p:spPr>
          <a:xfrm>
            <a:off x="8262386" y="3156923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%</a:t>
            </a:r>
          </a:p>
        </p:txBody>
      </p:sp>
    </p:spTree>
    <p:extLst>
      <p:ext uri="{BB962C8B-B14F-4D97-AF65-F5344CB8AC3E}">
        <p14:creationId xmlns:p14="http://schemas.microsoft.com/office/powerpoint/2010/main" val="3974627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8</a:t>
            </a:fld>
            <a:endParaRPr lang="fr-FR"/>
          </a:p>
        </p:txBody>
      </p:sp>
      <p:sp>
        <p:nvSpPr>
          <p:cNvPr id="34" name="Espace réservé du contenu 2"/>
          <p:cNvSpPr>
            <a:spLocks noGrp="1"/>
          </p:cNvSpPr>
          <p:nvPr>
            <p:ph idx="1"/>
          </p:nvPr>
        </p:nvSpPr>
        <p:spPr>
          <a:xfrm>
            <a:off x="8345192" y="2062216"/>
            <a:ext cx="3395366" cy="12368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2400" dirty="0">
                <a:latin typeface="Century Gothic" panose="020B0502020202020204" pitchFamily="34" charset="0"/>
              </a:rPr>
              <a:t>… to serve more people in </a:t>
            </a:r>
            <a:r>
              <a:rPr lang="fr-FR" sz="2400" dirty="0" err="1">
                <a:latin typeface="Century Gothic" panose="020B0502020202020204" pitchFamily="34" charset="0"/>
              </a:rPr>
              <a:t>need</a:t>
            </a:r>
            <a:endParaRPr lang="fr-FR" b="1" dirty="0"/>
          </a:p>
        </p:txBody>
      </p:sp>
      <p:sp>
        <p:nvSpPr>
          <p:cNvPr id="30" name="Rectangle 29"/>
          <p:cNvSpPr/>
          <p:nvPr/>
        </p:nvSpPr>
        <p:spPr>
          <a:xfrm>
            <a:off x="138538" y="374439"/>
            <a:ext cx="3918177" cy="2014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A GROWING ACTIVITY…</a:t>
            </a:r>
          </a:p>
        </p:txBody>
      </p:sp>
      <p:graphicFrame>
        <p:nvGraphicFramePr>
          <p:cNvPr id="37" name="Graphique 36">
            <a:extLst>
              <a:ext uri="{FF2B5EF4-FFF2-40B4-BE49-F238E27FC236}">
                <a16:creationId xmlns:a16="http://schemas.microsoft.com/office/drawing/2014/main" id="{8613C5A3-AD7E-4123-B1B1-FD421CB7C3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0510086"/>
              </p:ext>
            </p:extLst>
          </p:nvPr>
        </p:nvGraphicFramePr>
        <p:xfrm>
          <a:off x="4499597" y="833832"/>
          <a:ext cx="2947245" cy="2312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0" name="Flèche droite 49"/>
          <p:cNvSpPr/>
          <p:nvPr/>
        </p:nvSpPr>
        <p:spPr>
          <a:xfrm rot="20822048">
            <a:off x="5193179" y="634716"/>
            <a:ext cx="1551669" cy="564964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Century Gothic" panose="020B0502020202020204" pitchFamily="34" charset="0"/>
              </a:rPr>
              <a:t>+ 22 %</a:t>
            </a:r>
            <a:endParaRPr lang="en-GB" sz="2000" b="1" dirty="0">
              <a:latin typeface="Century Gothic" panose="020B0502020202020204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157135" y="3208724"/>
            <a:ext cx="37724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Operating budget</a:t>
            </a:r>
          </a:p>
          <a:p>
            <a:pPr algn="ctr"/>
            <a:r>
              <a:rPr lang="fr-FR" sz="14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ince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 2014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446928" y="5917691"/>
            <a:ext cx="3580063" cy="677108"/>
            <a:chOff x="558367" y="5996253"/>
            <a:chExt cx="3580063" cy="677108"/>
          </a:xfrm>
        </p:grpSpPr>
        <p:pic>
          <p:nvPicPr>
            <p:cNvPr id="39" name="Image 3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45495" y="6017202"/>
              <a:ext cx="290310" cy="635211"/>
            </a:xfrm>
            <a:prstGeom prst="rect">
              <a:avLst/>
            </a:prstGeom>
          </p:spPr>
        </p:pic>
        <p:pic>
          <p:nvPicPr>
            <p:cNvPr id="41" name="Image 4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63019" y="6017202"/>
              <a:ext cx="290310" cy="635211"/>
            </a:xfrm>
            <a:prstGeom prst="rect">
              <a:avLst/>
            </a:prstGeom>
          </p:spPr>
        </p:pic>
        <p:sp>
          <p:nvSpPr>
            <p:cNvPr id="3" name="ZoneTexte 2"/>
            <p:cNvSpPr txBox="1"/>
            <p:nvPr/>
          </p:nvSpPr>
          <p:spPr>
            <a:xfrm>
              <a:off x="2127793" y="5996253"/>
              <a:ext cx="2010637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400" b="1" dirty="0">
                  <a:solidFill>
                    <a:schemeClr val="accent6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50,000 </a:t>
              </a:r>
              <a:r>
                <a:rPr lang="fr-FR" sz="1400" dirty="0" err="1">
                  <a:latin typeface="Century Gothic" panose="020B0502020202020204" pitchFamily="34" charset="0"/>
                </a:rPr>
                <a:t>beneficiaries</a:t>
              </a:r>
              <a:endParaRPr lang="fr-FR" dirty="0">
                <a:latin typeface="Century Gothic" panose="020B0502020202020204" pitchFamily="34" charset="0"/>
              </a:endParaRPr>
            </a:p>
          </p:txBody>
        </p:sp>
        <p:sp>
          <p:nvSpPr>
            <p:cNvPr id="4" name="ZoneTexte 3"/>
            <p:cNvSpPr txBox="1"/>
            <p:nvPr/>
          </p:nvSpPr>
          <p:spPr>
            <a:xfrm>
              <a:off x="558367" y="6035264"/>
              <a:ext cx="9824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b="1" dirty="0">
                  <a:solidFill>
                    <a:schemeClr val="accent6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2014</a:t>
              </a: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4056715" y="5882129"/>
            <a:ext cx="3502156" cy="687486"/>
            <a:chOff x="4224345" y="5968891"/>
            <a:chExt cx="3502156" cy="687486"/>
          </a:xfrm>
        </p:grpSpPr>
        <p:pic>
          <p:nvPicPr>
            <p:cNvPr id="38" name="Image 3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28997" y="5983518"/>
              <a:ext cx="290310" cy="63521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</p:pic>
        <p:pic>
          <p:nvPicPr>
            <p:cNvPr id="54" name="Image 5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53955" y="5979269"/>
              <a:ext cx="290310" cy="635211"/>
            </a:xfrm>
            <a:prstGeom prst="rect">
              <a:avLst/>
            </a:prstGeom>
          </p:spPr>
        </p:pic>
        <p:pic>
          <p:nvPicPr>
            <p:cNvPr id="55" name="Image 5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41476" y="5968891"/>
              <a:ext cx="290310" cy="635211"/>
            </a:xfrm>
            <a:prstGeom prst="rect">
              <a:avLst/>
            </a:prstGeom>
          </p:spPr>
        </p:pic>
        <p:sp>
          <p:nvSpPr>
            <p:cNvPr id="56" name="ZoneTexte 55"/>
            <p:cNvSpPr txBox="1"/>
            <p:nvPr/>
          </p:nvSpPr>
          <p:spPr>
            <a:xfrm>
              <a:off x="4224345" y="6022129"/>
              <a:ext cx="9824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b="1" dirty="0">
                  <a:solidFill>
                    <a:schemeClr val="accent2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2015</a:t>
              </a:r>
            </a:p>
          </p:txBody>
        </p:sp>
        <p:sp>
          <p:nvSpPr>
            <p:cNvPr id="58" name="ZoneTexte 57"/>
            <p:cNvSpPr txBox="1"/>
            <p:nvPr/>
          </p:nvSpPr>
          <p:spPr>
            <a:xfrm>
              <a:off x="6174506" y="5979269"/>
              <a:ext cx="1551995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400" b="1" dirty="0">
                  <a:solidFill>
                    <a:schemeClr val="accent2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80,000 </a:t>
              </a:r>
              <a:r>
                <a:rPr lang="fr-FR" sz="1400" dirty="0" err="1">
                  <a:latin typeface="Century Gothic" panose="020B0502020202020204" pitchFamily="34" charset="0"/>
                </a:rPr>
                <a:t>beneficiaries</a:t>
              </a:r>
              <a:endParaRPr lang="fr-FR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124529" y="3912970"/>
            <a:ext cx="12067471" cy="1618217"/>
            <a:chOff x="137033" y="4060956"/>
            <a:chExt cx="12067471" cy="1618217"/>
          </a:xfrm>
        </p:grpSpPr>
        <p:pic>
          <p:nvPicPr>
            <p:cNvPr id="23" name="Image 22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8" r="42607"/>
            <a:stretch/>
          </p:blipFill>
          <p:spPr>
            <a:xfrm>
              <a:off x="10953090" y="4060956"/>
              <a:ext cx="1251414" cy="1618217"/>
            </a:xfrm>
            <a:prstGeom prst="rect">
              <a:avLst/>
            </a:prstGeom>
          </p:spPr>
        </p:pic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5061" y="4069973"/>
              <a:ext cx="2413800" cy="1609200"/>
            </a:xfrm>
            <a:prstGeom prst="rect">
              <a:avLst/>
            </a:prstGeom>
          </p:spPr>
        </p:pic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9033" y="4069973"/>
              <a:ext cx="2414743" cy="1609200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83" r="3020"/>
            <a:stretch/>
          </p:blipFill>
          <p:spPr>
            <a:xfrm>
              <a:off x="137033" y="4069973"/>
              <a:ext cx="1692000" cy="1609200"/>
            </a:xfrm>
            <a:prstGeom prst="rect">
              <a:avLst/>
            </a:prstGeom>
          </p:spPr>
        </p:pic>
        <p:pic>
          <p:nvPicPr>
            <p:cNvPr id="20" name="Imag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8861" y="4069973"/>
              <a:ext cx="2145600" cy="1609200"/>
            </a:xfrm>
            <a:prstGeom prst="rect">
              <a:avLst/>
            </a:prstGeom>
          </p:spPr>
        </p:pic>
        <p:pic>
          <p:nvPicPr>
            <p:cNvPr id="27" name="Image 2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9290" y="4069973"/>
              <a:ext cx="2413800" cy="1609200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/>
        </p:nvSpPr>
        <p:spPr>
          <a:xfrm>
            <a:off x="10727042" y="6122505"/>
            <a:ext cx="1464958" cy="740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/>
          <p:cNvGrpSpPr/>
          <p:nvPr/>
        </p:nvGrpSpPr>
        <p:grpSpPr>
          <a:xfrm>
            <a:off x="8043381" y="5861674"/>
            <a:ext cx="4178530" cy="682756"/>
            <a:chOff x="8090799" y="5997731"/>
            <a:chExt cx="4178530" cy="682756"/>
          </a:xfrm>
        </p:grpSpPr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90054" y="6045276"/>
              <a:ext cx="290310" cy="635211"/>
            </a:xfrm>
            <a:prstGeom prst="rect">
              <a:avLst/>
            </a:prstGeom>
          </p:spPr>
        </p:pic>
        <p:pic>
          <p:nvPicPr>
            <p:cNvPr id="42" name="Image 4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80364" y="6045276"/>
              <a:ext cx="290310" cy="635211"/>
            </a:xfrm>
            <a:prstGeom prst="rect">
              <a:avLst/>
            </a:prstGeom>
          </p:spPr>
        </p:pic>
        <p:pic>
          <p:nvPicPr>
            <p:cNvPr id="46" name="Image 4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664007" y="6041448"/>
              <a:ext cx="290310" cy="635211"/>
            </a:xfrm>
            <a:prstGeom prst="rect">
              <a:avLst/>
            </a:prstGeom>
          </p:spPr>
        </p:pic>
        <p:pic>
          <p:nvPicPr>
            <p:cNvPr id="47" name="Imag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45138" y="6039628"/>
              <a:ext cx="290310" cy="635211"/>
            </a:xfrm>
            <a:prstGeom prst="rect">
              <a:avLst/>
            </a:prstGeom>
          </p:spPr>
        </p:pic>
        <p:sp>
          <p:nvSpPr>
            <p:cNvPr id="57" name="ZoneTexte 56"/>
            <p:cNvSpPr txBox="1"/>
            <p:nvPr/>
          </p:nvSpPr>
          <p:spPr>
            <a:xfrm>
              <a:off x="8090799" y="6070654"/>
              <a:ext cx="9824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b="1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2016</a:t>
              </a:r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10258692" y="5997731"/>
              <a:ext cx="2010637" cy="67710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fr-FR" sz="2400" b="1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94,000 </a:t>
              </a:r>
              <a:r>
                <a:rPr lang="fr-FR" sz="1400" dirty="0" err="1">
                  <a:latin typeface="Century Gothic" panose="020B0502020202020204" pitchFamily="34" charset="0"/>
                </a:rPr>
                <a:t>beneficiaries</a:t>
              </a:r>
              <a:endParaRPr lang="fr-FR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8" name="Flèche : droite 17"/>
          <p:cNvSpPr/>
          <p:nvPr/>
        </p:nvSpPr>
        <p:spPr>
          <a:xfrm rot="20580770">
            <a:off x="3464626" y="6150693"/>
            <a:ext cx="513861" cy="25811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Flèche : droite 42"/>
          <p:cNvSpPr/>
          <p:nvPr/>
        </p:nvSpPr>
        <p:spPr>
          <a:xfrm rot="20580770">
            <a:off x="7472783" y="6146564"/>
            <a:ext cx="513861" cy="258114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5" name="Imag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30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arallélogramme 48"/>
          <p:cNvSpPr/>
          <p:nvPr/>
        </p:nvSpPr>
        <p:spPr>
          <a:xfrm>
            <a:off x="4767786" y="1361661"/>
            <a:ext cx="8647044" cy="5496339"/>
          </a:xfrm>
          <a:prstGeom prst="parallelogram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Parallélogramme 3"/>
          <p:cNvSpPr/>
          <p:nvPr/>
        </p:nvSpPr>
        <p:spPr>
          <a:xfrm>
            <a:off x="-2047462" y="1361661"/>
            <a:ext cx="8863711" cy="5496339"/>
          </a:xfrm>
          <a:prstGeom prst="parallelogram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Rectangle 44"/>
          <p:cNvSpPr/>
          <p:nvPr/>
        </p:nvSpPr>
        <p:spPr>
          <a:xfrm>
            <a:off x="9965653" y="4101662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Rectangle 43"/>
          <p:cNvSpPr/>
          <p:nvPr/>
        </p:nvSpPr>
        <p:spPr>
          <a:xfrm>
            <a:off x="8116834" y="4101662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Rectangle 42"/>
          <p:cNvSpPr/>
          <p:nvPr/>
        </p:nvSpPr>
        <p:spPr>
          <a:xfrm>
            <a:off x="9965655" y="2859938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/>
          <p:cNvSpPr/>
          <p:nvPr/>
        </p:nvSpPr>
        <p:spPr>
          <a:xfrm>
            <a:off x="8116834" y="2859938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Rectangle 40"/>
          <p:cNvSpPr/>
          <p:nvPr/>
        </p:nvSpPr>
        <p:spPr>
          <a:xfrm>
            <a:off x="2293359" y="5072320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/>
          <p:cNvSpPr/>
          <p:nvPr/>
        </p:nvSpPr>
        <p:spPr>
          <a:xfrm>
            <a:off x="309033" y="5090111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/>
          <p:cNvSpPr/>
          <p:nvPr/>
        </p:nvSpPr>
        <p:spPr>
          <a:xfrm>
            <a:off x="2288491" y="4218646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/>
          <p:cNvSpPr/>
          <p:nvPr/>
        </p:nvSpPr>
        <p:spPr>
          <a:xfrm>
            <a:off x="309035" y="4222377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/>
          <p:cNvSpPr/>
          <p:nvPr/>
        </p:nvSpPr>
        <p:spPr>
          <a:xfrm>
            <a:off x="2290872" y="3354643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/>
          <p:cNvSpPr/>
          <p:nvPr/>
        </p:nvSpPr>
        <p:spPr>
          <a:xfrm>
            <a:off x="326342" y="3354643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2288491" y="2495211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/>
          <p:cNvSpPr/>
          <p:nvPr/>
        </p:nvSpPr>
        <p:spPr>
          <a:xfrm>
            <a:off x="309039" y="2502268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8294" y="154125"/>
            <a:ext cx="11582664" cy="1118594"/>
          </a:xfrm>
        </p:spPr>
        <p:txBody>
          <a:bodyPr>
            <a:normAutofit lnSpcReduction="10000"/>
          </a:bodyPr>
          <a:lstStyle/>
          <a:p>
            <a:r>
              <a:rPr lang="fr-FR" sz="2000" dirty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A </a:t>
            </a:r>
            <a:r>
              <a:rPr lang="fr-FR" sz="2000" dirty="0" err="1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strong</a:t>
            </a:r>
            <a:r>
              <a:rPr lang="fr-FR" sz="2000" dirty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, efficient and transparent </a:t>
            </a:r>
            <a:r>
              <a:rPr lang="fr-FR" sz="2000" dirty="0" err="1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financial</a:t>
            </a:r>
            <a:r>
              <a:rPr lang="fr-FR" sz="2000" dirty="0">
                <a:solidFill>
                  <a:schemeClr val="tx1">
                    <a:lumMod val="50000"/>
                  </a:schemeClr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management</a:t>
            </a:r>
          </a:p>
          <a:p>
            <a:pPr marL="457200" lvl="1" indent="0">
              <a:spcBef>
                <a:spcPts val="0"/>
              </a:spcBef>
              <a:buClr>
                <a:schemeClr val="tx1"/>
              </a:buClr>
              <a:buNone/>
              <a:defRPr/>
            </a:pP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Through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management, planning and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internal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control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tools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technical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and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financial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evaluation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and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internal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and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external</a:t>
            </a:r>
            <a:r>
              <a:rPr lang="fr-FR" sz="14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1400" i="1" dirty="0" err="1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auditing</a:t>
            </a:r>
            <a:endParaRPr lang="fr-FR" sz="1400" i="1" dirty="0">
              <a:solidFill>
                <a:schemeClr val="accent3"/>
              </a:solidFill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  <a:p>
            <a:pPr>
              <a:lnSpc>
                <a:spcPct val="100000"/>
              </a:lnSpc>
              <a:buClr>
                <a:schemeClr val="tx1"/>
              </a:buClr>
              <a:defRPr/>
            </a:pPr>
            <a:r>
              <a:rPr lang="fr-FR" sz="2000" dirty="0" err="1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Working</a:t>
            </a:r>
            <a:r>
              <a:rPr lang="fr-FR" sz="2000" dirty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000" dirty="0" err="1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Closely</a:t>
            </a:r>
            <a:r>
              <a:rPr lang="fr-FR" sz="2000" dirty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0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with</a:t>
            </a:r>
            <a:r>
              <a:rPr lang="fr-FR" sz="20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0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committed</a:t>
            </a:r>
            <a:r>
              <a:rPr lang="fr-FR" sz="20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000" dirty="0" err="1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partners</a:t>
            </a:r>
            <a:endParaRPr lang="fr-FR" sz="2000" i="1" dirty="0"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fr-FR" sz="1500" i="1" dirty="0">
              <a:solidFill>
                <a:schemeClr val="accent3"/>
              </a:solidFill>
              <a:latin typeface="Constantia" pitchFamily="18" charset="0"/>
              <a:ea typeface="Tahoma" pitchFamily="34" charset="0"/>
              <a:cs typeface="Tahoma" pitchFamily="34" charset="0"/>
            </a:endParaRPr>
          </a:p>
          <a:p>
            <a:endParaRPr lang="fr-FR" sz="105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9</a:t>
            </a:fld>
            <a:endParaRPr lang="fr-FR"/>
          </a:p>
        </p:txBody>
      </p:sp>
      <p:sp>
        <p:nvSpPr>
          <p:cNvPr id="9" name="ZoneTexte 8"/>
          <p:cNvSpPr txBox="1"/>
          <p:nvPr/>
        </p:nvSpPr>
        <p:spPr bwMode="auto">
          <a:xfrm>
            <a:off x="7088573" y="1461708"/>
            <a:ext cx="4804005" cy="1331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defRPr/>
            </a:pPr>
            <a:r>
              <a:rPr lang="fr-FR" sz="14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Public </a:t>
            </a:r>
            <a:r>
              <a:rPr lang="fr-FR" sz="1400" b="1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funds</a:t>
            </a:r>
            <a:r>
              <a:rPr lang="fr-FR" sz="14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: 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French institutions, the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European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 Union, local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authorities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, international organisations,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bilateral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cooperation</a:t>
            </a:r>
            <a:endParaRPr lang="fr-FR" sz="14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  <a:p>
            <a:pPr lvl="1" eaLnBrk="1" hangingPunct="1">
              <a:defRPr/>
            </a:pPr>
            <a:endParaRPr lang="fr-FR" sz="1400" dirty="0">
              <a:solidFill>
                <a:schemeClr val="accent3"/>
              </a:solidFill>
              <a:latin typeface="Constantia" pitchFamily="18" charset="0"/>
            </a:endParaRPr>
          </a:p>
          <a:p>
            <a:pPr lvl="1">
              <a:defRPr/>
            </a:pPr>
            <a:r>
              <a:rPr lang="fr-FR" sz="1050" i="1" dirty="0" err="1">
                <a:solidFill>
                  <a:schemeClr val="accent3"/>
                </a:solidFill>
                <a:latin typeface="Constantia" pitchFamily="18" charset="0"/>
              </a:rPr>
              <a:t>Examples</a:t>
            </a:r>
            <a:endParaRPr lang="fr-FR" sz="1050" i="1" dirty="0">
              <a:solidFill>
                <a:schemeClr val="accent3"/>
              </a:solidFill>
              <a:latin typeface="Constantia" pitchFamily="18" charset="0"/>
            </a:endParaRPr>
          </a:p>
          <a:p>
            <a:pPr lvl="1" eaLnBrk="1" hangingPunct="1">
              <a:defRPr/>
            </a:pPr>
            <a:endParaRPr lang="fr-FR" sz="1400" dirty="0">
              <a:solidFill>
                <a:schemeClr val="accent3"/>
              </a:solidFill>
              <a:latin typeface="Constantia" pitchFamily="18" charset="0"/>
            </a:endParaRPr>
          </a:p>
        </p:txBody>
      </p:sp>
      <p:grpSp>
        <p:nvGrpSpPr>
          <p:cNvPr id="15" name="Groupe 14"/>
          <p:cNvGrpSpPr/>
          <p:nvPr/>
        </p:nvGrpSpPr>
        <p:grpSpPr>
          <a:xfrm>
            <a:off x="-233824" y="1592095"/>
            <a:ext cx="5339292" cy="834038"/>
            <a:chOff x="-177359" y="1715158"/>
            <a:chExt cx="4783930" cy="834038"/>
          </a:xfrm>
        </p:grpSpPr>
        <p:sp>
          <p:nvSpPr>
            <p:cNvPr id="11" name="ZoneTexte 10"/>
            <p:cNvSpPr txBox="1"/>
            <p:nvPr/>
          </p:nvSpPr>
          <p:spPr bwMode="auto">
            <a:xfrm>
              <a:off x="-177359" y="2079837"/>
              <a:ext cx="4783930" cy="4693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eaLnBrk="1" hangingPunct="1">
                <a:defRPr/>
              </a:pPr>
              <a:endParaRPr lang="fr-FR" sz="1400" dirty="0">
                <a:solidFill>
                  <a:schemeClr val="accent3"/>
                </a:solidFill>
                <a:latin typeface="Constantia" pitchFamily="18" charset="0"/>
              </a:endParaRPr>
            </a:p>
            <a:p>
              <a:pPr lvl="1" eaLnBrk="1" hangingPunct="1">
                <a:defRPr/>
              </a:pPr>
              <a:r>
                <a:rPr lang="fr-FR" sz="1050" i="1" dirty="0" err="1">
                  <a:solidFill>
                    <a:schemeClr val="accent3"/>
                  </a:solidFill>
                  <a:latin typeface="Constantia" pitchFamily="18" charset="0"/>
                </a:rPr>
                <a:t>Examples</a:t>
              </a:r>
              <a:endParaRPr lang="fr-FR" sz="1050" i="1" dirty="0">
                <a:solidFill>
                  <a:schemeClr val="accent3"/>
                </a:solidFill>
                <a:latin typeface="Constantia" pitchFamily="18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309033" y="1715158"/>
              <a:ext cx="252412" cy="2873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400">
                <a:latin typeface="Constantia" pitchFamily="18" charset="0"/>
              </a:endParaRPr>
            </a:p>
          </p:txBody>
        </p:sp>
      </p:grpSp>
      <p:pic>
        <p:nvPicPr>
          <p:cNvPr id="16" name="Imag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57"/>
          <a:stretch>
            <a:fillRect/>
          </a:stretch>
        </p:blipFill>
        <p:spPr bwMode="auto">
          <a:xfrm>
            <a:off x="8389155" y="4354724"/>
            <a:ext cx="1072227" cy="455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308" y="2924560"/>
            <a:ext cx="1015925" cy="86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976" y="3024188"/>
            <a:ext cx="1072227" cy="712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 18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EFCFD"/>
              </a:clrFrom>
              <a:clrTo>
                <a:srgbClr val="FEFC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019" b="20062"/>
          <a:stretch/>
        </p:blipFill>
        <p:spPr>
          <a:xfrm>
            <a:off x="10055690" y="4354724"/>
            <a:ext cx="1436796" cy="451936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CFCFA"/>
              </a:clrFrom>
              <a:clrTo>
                <a:srgbClr val="FCFC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57" y="3564985"/>
            <a:ext cx="1309029" cy="412344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62" y="4335461"/>
            <a:ext cx="1372615" cy="607213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237" y="3543501"/>
            <a:ext cx="1537378" cy="446683"/>
          </a:xfrm>
          <a:prstGeom prst="rect">
            <a:avLst/>
          </a:prstGeom>
        </p:spPr>
      </p:pic>
      <p:pic>
        <p:nvPicPr>
          <p:cNvPr id="25" name="Imag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302"/>
          <a:stretch>
            <a:fillRect/>
          </a:stretch>
        </p:blipFill>
        <p:spPr bwMode="auto">
          <a:xfrm>
            <a:off x="406717" y="5284395"/>
            <a:ext cx="1477417" cy="342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age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755" y="2536227"/>
            <a:ext cx="751797" cy="751797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773" y="5282138"/>
            <a:ext cx="1466419" cy="430247"/>
          </a:xfrm>
          <a:prstGeom prst="rect">
            <a:avLst/>
          </a:prstGeom>
        </p:spPr>
      </p:pic>
      <p:pic>
        <p:nvPicPr>
          <p:cNvPr id="28" name="Image 27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294" y="4419018"/>
            <a:ext cx="1406756" cy="416866"/>
          </a:xfrm>
          <a:prstGeom prst="rect">
            <a:avLst/>
          </a:prstGeom>
        </p:spPr>
      </p:pic>
      <p:pic>
        <p:nvPicPr>
          <p:cNvPr id="1026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42" b="15141"/>
          <a:stretch/>
        </p:blipFill>
        <p:spPr bwMode="auto">
          <a:xfrm>
            <a:off x="394343" y="2670391"/>
            <a:ext cx="1377643" cy="559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891" y="4498414"/>
            <a:ext cx="871804" cy="652329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090" y="3517641"/>
            <a:ext cx="932769" cy="652329"/>
          </a:xfrm>
          <a:prstGeom prst="rect">
            <a:avLst/>
          </a:prstGeom>
        </p:spPr>
      </p:pic>
      <p:graphicFrame>
        <p:nvGraphicFramePr>
          <p:cNvPr id="46" name="Graphique 45">
            <a:extLst>
              <a:ext uri="{FF2B5EF4-FFF2-40B4-BE49-F238E27FC236}">
                <a16:creationId xmlns:a16="http://schemas.microsoft.com/office/drawing/2014/main" id="{C2EB2474-4C42-4DFC-BB68-737B028677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2679419"/>
              </p:ext>
            </p:extLst>
          </p:nvPr>
        </p:nvGraphicFramePr>
        <p:xfrm>
          <a:off x="4222924" y="2993043"/>
          <a:ext cx="3541737" cy="2067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7" name="Rectangle 46"/>
          <p:cNvSpPr/>
          <p:nvPr/>
        </p:nvSpPr>
        <p:spPr>
          <a:xfrm>
            <a:off x="126493" y="5991954"/>
            <a:ext cx="12065507" cy="8656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fr-FR" sz="4400" dirty="0">
                <a:solidFill>
                  <a:schemeClr val="tx2"/>
                </a:solidFill>
                <a:latin typeface="Century Gothic" panose="020B0502020202020204" pitchFamily="34" charset="0"/>
              </a:rPr>
              <a:t>OUR FINANCIAL RESOURCES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7088574" y="1547487"/>
            <a:ext cx="281714" cy="2873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sz="1400">
              <a:latin typeface="Constantia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09033" y="1547487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/>
            </a:pPr>
            <a:r>
              <a:rPr lang="fr-FR" sz="1400" b="1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Private</a:t>
            </a:r>
            <a:r>
              <a:rPr lang="fr-FR" sz="14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funds</a:t>
            </a:r>
            <a:r>
              <a:rPr lang="fr-FR" sz="14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: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companies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 and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corporate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foundations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, associations,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philanthropic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foundations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,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private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 err="1">
                <a:solidFill>
                  <a:schemeClr val="accent3"/>
                </a:solidFill>
                <a:latin typeface="Century Gothic" panose="020B0502020202020204" pitchFamily="34" charset="0"/>
              </a:rPr>
              <a:t>donors</a:t>
            </a:r>
            <a:endParaRPr lang="fr-FR" sz="1400" dirty="0">
              <a:solidFill>
                <a:schemeClr val="accent3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27432" y="367749"/>
            <a:ext cx="149451" cy="64902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1" name="Image 5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684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heme/theme1.xml><?xml version="1.0" encoding="utf-8"?>
<a:theme xmlns:a="http://schemas.openxmlformats.org/drawingml/2006/main" name="Thème Office">
  <a:themeElements>
    <a:clrScheme name="IECD">
      <a:dk1>
        <a:srgbClr val="514449"/>
      </a:dk1>
      <a:lt1>
        <a:sysClr val="window" lastClr="FFFFFF"/>
      </a:lt1>
      <a:dk2>
        <a:srgbClr val="C1022C"/>
      </a:dk2>
      <a:lt2>
        <a:srgbClr val="D0C6CA"/>
      </a:lt2>
      <a:accent1>
        <a:srgbClr val="E97F6C"/>
      </a:accent1>
      <a:accent2>
        <a:srgbClr val="C1022C"/>
      </a:accent2>
      <a:accent3>
        <a:srgbClr val="8B737C"/>
      </a:accent3>
      <a:accent4>
        <a:srgbClr val="514449"/>
      </a:accent4>
      <a:accent5>
        <a:srgbClr val="FFFFFF"/>
      </a:accent5>
      <a:accent6>
        <a:srgbClr val="E14F37"/>
      </a:accent6>
      <a:hlink>
        <a:srgbClr val="C1022C"/>
      </a:hlink>
      <a:folHlink>
        <a:srgbClr val="E97F6C"/>
      </a:folHlink>
    </a:clrScheme>
    <a:fontScheme name="IECD">
      <a:majorFont>
        <a:latin typeface="Constantia"/>
        <a:ea typeface=""/>
        <a:cs typeface=""/>
      </a:majorFont>
      <a:minorFont>
        <a:latin typeface="Constant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5065E94-21C6-4A17-8427-C9CDEB7C3CD3}" vid="{2E556C2A-A497-4934-B3AC-534443A06921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15</TotalTime>
  <Words>1114</Words>
  <Application>Microsoft Office PowerPoint</Application>
  <PresentationFormat>Grand écran</PresentationFormat>
  <Paragraphs>282</Paragraphs>
  <Slides>15</Slides>
  <Notes>4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entury Gothic</vt:lpstr>
      <vt:lpstr>Consolas</vt:lpstr>
      <vt:lpstr>Constantia</vt:lpstr>
      <vt:lpstr>Gisha</vt:lpstr>
      <vt:lpstr>Tahoma</vt:lpstr>
      <vt:lpstr>Times New Roman</vt:lpstr>
      <vt:lpstr>Wingdings</vt:lpstr>
      <vt:lpstr>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1/4 – VOCATIONAL TRAINING AND EMPLOYMENT To promote sustainable employment for young people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loé Chloé VAN DEN BUSSCHE</dc:creator>
  <cp:lastModifiedBy>Florence Dominique</cp:lastModifiedBy>
  <cp:revision>557</cp:revision>
  <dcterms:created xsi:type="dcterms:W3CDTF">2015-06-24T15:52:59Z</dcterms:created>
  <dcterms:modified xsi:type="dcterms:W3CDTF">2017-10-16T13:35:28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